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6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7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8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9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10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4174" r:id="rId2"/>
    <p:sldMasterId id="2147484184" r:id="rId3"/>
    <p:sldMasterId id="2147484190" r:id="rId4"/>
  </p:sldMasterIdLst>
  <p:notesMasterIdLst>
    <p:notesMasterId r:id="rId29"/>
  </p:notesMasterIdLst>
  <p:sldIdLst>
    <p:sldId id="2081" r:id="rId5"/>
    <p:sldId id="2085" r:id="rId6"/>
    <p:sldId id="2086" r:id="rId7"/>
    <p:sldId id="2114" r:id="rId8"/>
    <p:sldId id="2076" r:id="rId9"/>
    <p:sldId id="2107" r:id="rId10"/>
    <p:sldId id="2101" r:id="rId11"/>
    <p:sldId id="2113" r:id="rId12"/>
    <p:sldId id="2110" r:id="rId13"/>
    <p:sldId id="2098" r:id="rId14"/>
    <p:sldId id="2088" r:id="rId15"/>
    <p:sldId id="2084" r:id="rId16"/>
    <p:sldId id="2108" r:id="rId17"/>
    <p:sldId id="1772" r:id="rId18"/>
    <p:sldId id="2105" r:id="rId19"/>
    <p:sldId id="2083" r:id="rId20"/>
    <p:sldId id="2100" r:id="rId21"/>
    <p:sldId id="2089" r:id="rId22"/>
    <p:sldId id="1989" r:id="rId23"/>
    <p:sldId id="2090" r:id="rId24"/>
    <p:sldId id="1842" r:id="rId25"/>
    <p:sldId id="2102" r:id="rId26"/>
    <p:sldId id="2103" r:id="rId27"/>
    <p:sldId id="2104" r:id="rId28"/>
  </p:sldIdLst>
  <p:sldSz cx="12192000" cy="6858000"/>
  <p:notesSz cx="6858000" cy="9144000"/>
  <p:custDataLst>
    <p:tags r:id="rId3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chová Anna Mgr." initials="KAM" lastIdx="1" clrIdx="0">
    <p:extLst>
      <p:ext uri="{19B8F6BF-5375-455C-9EA6-DF929625EA0E}">
        <p15:presenceInfo xmlns:p15="http://schemas.microsoft.com/office/powerpoint/2012/main" userId="Klechová Anna Mgr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4DE5F5"/>
    <a:srgbClr val="F7E7E9"/>
    <a:srgbClr val="FBCBD8"/>
    <a:srgbClr val="C00000"/>
    <a:srgbClr val="FFFFFF"/>
    <a:srgbClr val="FFCCFF"/>
    <a:srgbClr val="305983"/>
    <a:srgbClr val="D31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3721" autoAdjust="0"/>
  </p:normalViewPr>
  <p:slideViewPr>
    <p:cSldViewPr snapToGrid="0">
      <p:cViewPr varScale="1">
        <p:scale>
          <a:sx n="107" d="100"/>
          <a:sy n="107" d="100"/>
        </p:scale>
        <p:origin x="108" y="114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58</c:f>
              <c:numCache>
                <c:formatCode>m/d/yyyy</c:formatCode>
                <c:ptCount val="57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</c:numCache>
            </c:numRef>
          </c:cat>
          <c:val>
            <c:numRef>
              <c:f>List1!$B$2:$B$58</c:f>
              <c:numCache>
                <c:formatCode>General</c:formatCode>
                <c:ptCount val="57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  <c:pt idx="38">
                  <c:v>5070066</c:v>
                </c:pt>
                <c:pt idx="39">
                  <c:v>5090195</c:v>
                </c:pt>
                <c:pt idx="40">
                  <c:v>5106691</c:v>
                </c:pt>
                <c:pt idx="41">
                  <c:v>5114175</c:v>
                </c:pt>
                <c:pt idx="42">
                  <c:v>5956713</c:v>
                </c:pt>
                <c:pt idx="43">
                  <c:v>6046619</c:v>
                </c:pt>
                <c:pt idx="44">
                  <c:v>6107443</c:v>
                </c:pt>
                <c:pt idx="45">
                  <c:v>6141760</c:v>
                </c:pt>
                <c:pt idx="46">
                  <c:v>6153577</c:v>
                </c:pt>
                <c:pt idx="47">
                  <c:v>6167571</c:v>
                </c:pt>
                <c:pt idx="48">
                  <c:v>6173874</c:v>
                </c:pt>
                <c:pt idx="49">
                  <c:v>6982664</c:v>
                </c:pt>
                <c:pt idx="50">
                  <c:v>7082158</c:v>
                </c:pt>
                <c:pt idx="51">
                  <c:v>7127051</c:v>
                </c:pt>
                <c:pt idx="52">
                  <c:v>7158582</c:v>
                </c:pt>
                <c:pt idx="53">
                  <c:v>7170808</c:v>
                </c:pt>
                <c:pt idx="54">
                  <c:v>7171955</c:v>
                </c:pt>
                <c:pt idx="55">
                  <c:v>7178393</c:v>
                </c:pt>
                <c:pt idx="56">
                  <c:v>7966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58</c:f>
              <c:numCache>
                <c:formatCode>m/d/yyyy</c:formatCode>
                <c:ptCount val="57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</c:numCache>
            </c:numRef>
          </c:cat>
          <c:val>
            <c:numRef>
              <c:f>List1!$C$2:$C$58</c:f>
              <c:numCache>
                <c:formatCode>General</c:formatCode>
                <c:ptCount val="57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  <c:pt idx="38">
                  <c:v>1269116</c:v>
                </c:pt>
                <c:pt idx="39">
                  <c:v>1271209</c:v>
                </c:pt>
                <c:pt idx="40">
                  <c:v>1273090</c:v>
                </c:pt>
                <c:pt idx="41">
                  <c:v>1273293</c:v>
                </c:pt>
                <c:pt idx="42">
                  <c:v>1363578</c:v>
                </c:pt>
                <c:pt idx="43">
                  <c:v>1374784</c:v>
                </c:pt>
                <c:pt idx="44">
                  <c:v>1380014</c:v>
                </c:pt>
                <c:pt idx="45">
                  <c:v>1384073</c:v>
                </c:pt>
                <c:pt idx="46">
                  <c:v>1385471</c:v>
                </c:pt>
                <c:pt idx="47">
                  <c:v>1386899</c:v>
                </c:pt>
                <c:pt idx="48">
                  <c:v>1387006</c:v>
                </c:pt>
                <c:pt idx="49">
                  <c:v>1447522</c:v>
                </c:pt>
                <c:pt idx="50">
                  <c:v>1456357</c:v>
                </c:pt>
                <c:pt idx="51">
                  <c:v>1459827</c:v>
                </c:pt>
                <c:pt idx="52">
                  <c:v>1462418</c:v>
                </c:pt>
                <c:pt idx="53">
                  <c:v>1463401</c:v>
                </c:pt>
                <c:pt idx="54">
                  <c:v>1463427</c:v>
                </c:pt>
                <c:pt idx="55">
                  <c:v>1463539</c:v>
                </c:pt>
                <c:pt idx="56">
                  <c:v>1515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4560783597242141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446.58764282490398</c:v>
                </c:pt>
                <c:pt idx="1">
                  <c:v>548.48263971804397</c:v>
                </c:pt>
                <c:pt idx="2">
                  <c:v>665.00550733081297</c:v>
                </c:pt>
                <c:pt idx="3">
                  <c:v>479.84416941824799</c:v>
                </c:pt>
                <c:pt idx="4">
                  <c:v>266.427286354947</c:v>
                </c:pt>
                <c:pt idx="5">
                  <c:v>195.16330079778101</c:v>
                </c:pt>
                <c:pt idx="6">
                  <c:v>179.03513564536999</c:v>
                </c:pt>
                <c:pt idx="7">
                  <c:v>127.775075858637</c:v>
                </c:pt>
                <c:pt idx="8">
                  <c:v>155.40549832904699</c:v>
                </c:pt>
                <c:pt idx="9">
                  <c:v>173.15898245030499</c:v>
                </c:pt>
                <c:pt idx="10">
                  <c:v>196.038472550237</c:v>
                </c:pt>
                <c:pt idx="11">
                  <c:v>266.80235996314201</c:v>
                </c:pt>
                <c:pt idx="12">
                  <c:v>227.41963110260301</c:v>
                </c:pt>
                <c:pt idx="13">
                  <c:v>327.93935809902598</c:v>
                </c:pt>
                <c:pt idx="14">
                  <c:v>659.00432959968305</c:v>
                </c:pt>
                <c:pt idx="15">
                  <c:v>704.26321165528702</c:v>
                </c:pt>
                <c:pt idx="16">
                  <c:v>873.046335343310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5030486293927378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829.42273587865895</c:v>
                </c:pt>
                <c:pt idx="1">
                  <c:v>1001.82984229509</c:v>
                </c:pt>
                <c:pt idx="2">
                  <c:v>1169.6535287045399</c:v>
                </c:pt>
                <c:pt idx="3">
                  <c:v>1025.8046546393</c:v>
                </c:pt>
                <c:pt idx="4">
                  <c:v>695.62212875179296</c:v>
                </c:pt>
                <c:pt idx="5">
                  <c:v>596.54974244705204</c:v>
                </c:pt>
                <c:pt idx="6">
                  <c:v>500.826778455105</c:v>
                </c:pt>
                <c:pt idx="7">
                  <c:v>351.68934284334199</c:v>
                </c:pt>
                <c:pt idx="8">
                  <c:v>366.14474440382003</c:v>
                </c:pt>
                <c:pt idx="9">
                  <c:v>331.416523581695</c:v>
                </c:pt>
                <c:pt idx="10">
                  <c:v>282.23290119909302</c:v>
                </c:pt>
                <c:pt idx="11">
                  <c:v>267.95378502349803</c:v>
                </c:pt>
                <c:pt idx="12">
                  <c:v>230.93385419788299</c:v>
                </c:pt>
                <c:pt idx="13">
                  <c:v>234.28327651067701</c:v>
                </c:pt>
                <c:pt idx="14">
                  <c:v>260.02094270372402</c:v>
                </c:pt>
                <c:pt idx="15">
                  <c:v>177.87195334783499</c:v>
                </c:pt>
                <c:pt idx="16">
                  <c:v>147.90343791757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8.9243512370193803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023.62036613109</c:v>
                </c:pt>
                <c:pt idx="1">
                  <c:v>1212.8062854797699</c:v>
                </c:pt>
                <c:pt idx="2">
                  <c:v>1461.17952379709</c:v>
                </c:pt>
                <c:pt idx="3">
                  <c:v>1524.75548164718</c:v>
                </c:pt>
                <c:pt idx="4">
                  <c:v>1569.3535416315699</c:v>
                </c:pt>
                <c:pt idx="5">
                  <c:v>1486.68107405412</c:v>
                </c:pt>
                <c:pt idx="6">
                  <c:v>1265.23272833376</c:v>
                </c:pt>
                <c:pt idx="7">
                  <c:v>872.03440692882998</c:v>
                </c:pt>
                <c:pt idx="8">
                  <c:v>1067.98120239216</c:v>
                </c:pt>
                <c:pt idx="9">
                  <c:v>938.33843759711306</c:v>
                </c:pt>
                <c:pt idx="10">
                  <c:v>922.44444813459097</c:v>
                </c:pt>
                <c:pt idx="11">
                  <c:v>1086.8404883962</c:v>
                </c:pt>
                <c:pt idx="12">
                  <c:v>1237.9520001518199</c:v>
                </c:pt>
                <c:pt idx="13">
                  <c:v>1614.1888253392799</c:v>
                </c:pt>
                <c:pt idx="14">
                  <c:v>1994.9329012698499</c:v>
                </c:pt>
                <c:pt idx="15">
                  <c:v>1609.9187983195</c:v>
                </c:pt>
                <c:pt idx="16">
                  <c:v>1778.8220893242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9.685039370078002</c:v>
                </c:pt>
                <c:pt idx="1">
                  <c:v>21.296847114812</c:v>
                </c:pt>
                <c:pt idx="2">
                  <c:v>20.498866213151</c:v>
                </c:pt>
                <c:pt idx="3">
                  <c:v>19.577464788732001</c:v>
                </c:pt>
                <c:pt idx="4">
                  <c:v>24.373259052923999</c:v>
                </c:pt>
                <c:pt idx="5">
                  <c:v>23.720136518771</c:v>
                </c:pt>
                <c:pt idx="6">
                  <c:v>21.413721413720999</c:v>
                </c:pt>
                <c:pt idx="7">
                  <c:v>18.768768768767998</c:v>
                </c:pt>
                <c:pt idx="8">
                  <c:v>18.867924528301</c:v>
                </c:pt>
                <c:pt idx="9">
                  <c:v>18.688981868898001</c:v>
                </c:pt>
                <c:pt idx="10">
                  <c:v>13.291139240506</c:v>
                </c:pt>
                <c:pt idx="11">
                  <c:v>11.182108626198</c:v>
                </c:pt>
                <c:pt idx="12">
                  <c:v>10.235131396957</c:v>
                </c:pt>
                <c:pt idx="13">
                  <c:v>6.0478199718700001</c:v>
                </c:pt>
                <c:pt idx="14">
                  <c:v>2.7496382054990001</c:v>
                </c:pt>
                <c:pt idx="15">
                  <c:v>1.7496635262439999</c:v>
                </c:pt>
                <c:pt idx="16">
                  <c:v>2.127659574467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9.232922732361999</c:v>
                </c:pt>
                <c:pt idx="1">
                  <c:v>20.469569181672998</c:v>
                </c:pt>
                <c:pt idx="2">
                  <c:v>19.909757473209002</c:v>
                </c:pt>
                <c:pt idx="3">
                  <c:v>21.625846795205</c:v>
                </c:pt>
                <c:pt idx="4">
                  <c:v>27.827311121539001</c:v>
                </c:pt>
                <c:pt idx="5">
                  <c:v>27.226137091607001</c:v>
                </c:pt>
                <c:pt idx="6">
                  <c:v>23.952513966480002</c:v>
                </c:pt>
                <c:pt idx="7">
                  <c:v>21.037181996086002</c:v>
                </c:pt>
                <c:pt idx="8">
                  <c:v>20.675784392598</c:v>
                </c:pt>
                <c:pt idx="9">
                  <c:v>16.53429602888</c:v>
                </c:pt>
                <c:pt idx="10">
                  <c:v>12.563775510204</c:v>
                </c:pt>
                <c:pt idx="11">
                  <c:v>8.7160262417989998</c:v>
                </c:pt>
                <c:pt idx="12">
                  <c:v>6.5420560747660002</c:v>
                </c:pt>
                <c:pt idx="13">
                  <c:v>4.117422798322</c:v>
                </c:pt>
                <c:pt idx="14">
                  <c:v>1.290077784101</c:v>
                </c:pt>
                <c:pt idx="15">
                  <c:v>0.95863660571599996</c:v>
                </c:pt>
                <c:pt idx="16">
                  <c:v>0.3723328082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8.650036683785</c:v>
                </c:pt>
                <c:pt idx="1">
                  <c:v>26.348182883939</c:v>
                </c:pt>
                <c:pt idx="2">
                  <c:v>32.725377800936997</c:v>
                </c:pt>
                <c:pt idx="3">
                  <c:v>30.693069306929999</c:v>
                </c:pt>
                <c:pt idx="4">
                  <c:v>31.407368142062001</c:v>
                </c:pt>
                <c:pt idx="5">
                  <c:v>27.357901311679999</c:v>
                </c:pt>
                <c:pt idx="6">
                  <c:v>25.182622068434998</c:v>
                </c:pt>
                <c:pt idx="7">
                  <c:v>18.480392156861999</c:v>
                </c:pt>
                <c:pt idx="8">
                  <c:v>17.699473471040001</c:v>
                </c:pt>
                <c:pt idx="9">
                  <c:v>16.152784169351001</c:v>
                </c:pt>
                <c:pt idx="10">
                  <c:v>14.307228915662</c:v>
                </c:pt>
                <c:pt idx="11">
                  <c:v>9.4974446337299998</c:v>
                </c:pt>
                <c:pt idx="12">
                  <c:v>4.7574334898270001</c:v>
                </c:pt>
                <c:pt idx="13">
                  <c:v>2.7549263439830001</c:v>
                </c:pt>
                <c:pt idx="14">
                  <c:v>1.609952433223</c:v>
                </c:pt>
                <c:pt idx="15">
                  <c:v>0.98113207547100001</c:v>
                </c:pt>
                <c:pt idx="16">
                  <c:v>0.68441877874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3.018065887353</c:v>
                </c:pt>
                <c:pt idx="1">
                  <c:v>24.740453985571001</c:v>
                </c:pt>
                <c:pt idx="2">
                  <c:v>25.817633760361002</c:v>
                </c:pt>
                <c:pt idx="3">
                  <c:v>29.472417941227</c:v>
                </c:pt>
                <c:pt idx="4">
                  <c:v>37.734414597060002</c:v>
                </c:pt>
                <c:pt idx="5">
                  <c:v>37.559101654846003</c:v>
                </c:pt>
                <c:pt idx="6">
                  <c:v>38.542766631467003</c:v>
                </c:pt>
                <c:pt idx="7">
                  <c:v>35.037593984962001</c:v>
                </c:pt>
                <c:pt idx="8">
                  <c:v>30.717380837745999</c:v>
                </c:pt>
                <c:pt idx="9">
                  <c:v>28.936170212764999</c:v>
                </c:pt>
                <c:pt idx="10">
                  <c:v>25.171767645220999</c:v>
                </c:pt>
                <c:pt idx="11">
                  <c:v>23.75</c:v>
                </c:pt>
                <c:pt idx="12">
                  <c:v>23.282442748091</c:v>
                </c:pt>
                <c:pt idx="13">
                  <c:v>17.983446200149999</c:v>
                </c:pt>
                <c:pt idx="14">
                  <c:v>12.542372881355</c:v>
                </c:pt>
                <c:pt idx="15">
                  <c:v>8.9197224975220006</c:v>
                </c:pt>
                <c:pt idx="16">
                  <c:v>7.032181168056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9.683561276481001</c:v>
                </c:pt>
                <c:pt idx="1">
                  <c:v>19.991544681074998</c:v>
                </c:pt>
                <c:pt idx="2">
                  <c:v>20.869068038879</c:v>
                </c:pt>
                <c:pt idx="3">
                  <c:v>22.998962085597</c:v>
                </c:pt>
                <c:pt idx="4">
                  <c:v>29.70464135021</c:v>
                </c:pt>
                <c:pt idx="5">
                  <c:v>29.142725810158002</c:v>
                </c:pt>
                <c:pt idx="6">
                  <c:v>28.630175836642</c:v>
                </c:pt>
                <c:pt idx="7">
                  <c:v>26.217382371069998</c:v>
                </c:pt>
                <c:pt idx="8">
                  <c:v>21.207508878740999</c:v>
                </c:pt>
                <c:pt idx="9">
                  <c:v>17.011673151749999</c:v>
                </c:pt>
                <c:pt idx="10">
                  <c:v>10.792220113851</c:v>
                </c:pt>
                <c:pt idx="11">
                  <c:v>8.101345010947</c:v>
                </c:pt>
                <c:pt idx="12">
                  <c:v>8.3037241742330004</c:v>
                </c:pt>
                <c:pt idx="13">
                  <c:v>4.1466522889909996</c:v>
                </c:pt>
                <c:pt idx="14">
                  <c:v>2.807365205185</c:v>
                </c:pt>
                <c:pt idx="15">
                  <c:v>2.1415441176469998</c:v>
                </c:pt>
                <c:pt idx="16">
                  <c:v>1.253196930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7.856315179606</c:v>
                </c:pt>
                <c:pt idx="1">
                  <c:v>30.356968215157998</c:v>
                </c:pt>
                <c:pt idx="2">
                  <c:v>30.181021186784001</c:v>
                </c:pt>
                <c:pt idx="3">
                  <c:v>29.295993776740001</c:v>
                </c:pt>
                <c:pt idx="4">
                  <c:v>29.249489834479</c:v>
                </c:pt>
                <c:pt idx="5">
                  <c:v>26.807084729534999</c:v>
                </c:pt>
                <c:pt idx="6">
                  <c:v>23.521139964376001</c:v>
                </c:pt>
                <c:pt idx="7">
                  <c:v>21.653971708377998</c:v>
                </c:pt>
                <c:pt idx="8">
                  <c:v>18.269657929808002</c:v>
                </c:pt>
                <c:pt idx="9">
                  <c:v>15.080267981291</c:v>
                </c:pt>
                <c:pt idx="10">
                  <c:v>11.418284685611001</c:v>
                </c:pt>
                <c:pt idx="11">
                  <c:v>8.1850922187049999</c:v>
                </c:pt>
                <c:pt idx="12">
                  <c:v>5.825428763054</c:v>
                </c:pt>
                <c:pt idx="13">
                  <c:v>2.9612756264229998</c:v>
                </c:pt>
                <c:pt idx="14">
                  <c:v>1.7718056959390001</c:v>
                </c:pt>
                <c:pt idx="15">
                  <c:v>1.5103514329909999</c:v>
                </c:pt>
                <c:pt idx="16">
                  <c:v>1.313596052542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Jihomoravs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Hlavní město Praha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6.718123793973</c:v>
                </c:pt>
                <c:pt idx="1">
                  <c:v>25.398975574651001</c:v>
                </c:pt>
                <c:pt idx="2">
                  <c:v>22.481340487394998</c:v>
                </c:pt>
                <c:pt idx="3">
                  <c:v>20.329335230737001</c:v>
                </c:pt>
                <c:pt idx="4">
                  <c:v>18.037518037518002</c:v>
                </c:pt>
                <c:pt idx="5">
                  <c:v>17.132927038205999</c:v>
                </c:pt>
                <c:pt idx="6">
                  <c:v>14.279116175594</c:v>
                </c:pt>
                <c:pt idx="7">
                  <c:v>13.151405556467999</c:v>
                </c:pt>
                <c:pt idx="8">
                  <c:v>12.539027723789999</c:v>
                </c:pt>
                <c:pt idx="9">
                  <c:v>11.664333799906</c:v>
                </c:pt>
                <c:pt idx="10">
                  <c:v>9.4843237677150007</c:v>
                </c:pt>
                <c:pt idx="11">
                  <c:v>7.4693755602029999</c:v>
                </c:pt>
                <c:pt idx="12">
                  <c:v>7.166917508779</c:v>
                </c:pt>
                <c:pt idx="13">
                  <c:v>3.0518509475990001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Středočeský kraj</c:v>
                </c:pt>
                <c:pt idx="1">
                  <c:v>Jihomoravský kraj</c:v>
                </c:pt>
                <c:pt idx="2">
                  <c:v>Moravskoslezský kraj</c:v>
                </c:pt>
                <c:pt idx="3">
                  <c:v>Hlavní město Praha</c:v>
                </c:pt>
                <c:pt idx="4">
                  <c:v>Ústecký kraj</c:v>
                </c:pt>
                <c:pt idx="5">
                  <c:v>Zlínský kraj</c:v>
                </c:pt>
                <c:pt idx="6">
                  <c:v>Liberecký kraj</c:v>
                </c:pt>
                <c:pt idx="7">
                  <c:v>Jihočeský kraj</c:v>
                </c:pt>
                <c:pt idx="8">
                  <c:v>Olomoucký kraj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325</c:v>
                </c:pt>
                <c:pt idx="1">
                  <c:v>321</c:v>
                </c:pt>
                <c:pt idx="2">
                  <c:v>307</c:v>
                </c:pt>
                <c:pt idx="3">
                  <c:v>290</c:v>
                </c:pt>
                <c:pt idx="4">
                  <c:v>255</c:v>
                </c:pt>
                <c:pt idx="5">
                  <c:v>253</c:v>
                </c:pt>
                <c:pt idx="6">
                  <c:v>216</c:v>
                </c:pt>
                <c:pt idx="7">
                  <c:v>212</c:v>
                </c:pt>
                <c:pt idx="8">
                  <c:v>211</c:v>
                </c:pt>
                <c:pt idx="9">
                  <c:v>134</c:v>
                </c:pt>
                <c:pt idx="10">
                  <c:v>128</c:v>
                </c:pt>
                <c:pt idx="11">
                  <c:v>119</c:v>
                </c:pt>
                <c:pt idx="12">
                  <c:v>112</c:v>
                </c:pt>
                <c:pt idx="1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Jihomoravs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Hlavní město Praha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82.024640047498</c:v>
                </c:pt>
                <c:pt idx="1">
                  <c:v>292.08821910849503</c:v>
                </c:pt>
                <c:pt idx="2">
                  <c:v>179.850723899163</c:v>
                </c:pt>
                <c:pt idx="3">
                  <c:v>304.94002846106901</c:v>
                </c:pt>
                <c:pt idx="4">
                  <c:v>364.357864357864</c:v>
                </c:pt>
                <c:pt idx="5">
                  <c:v>369.58171182416697</c:v>
                </c:pt>
                <c:pt idx="6">
                  <c:v>248.38610730138799</c:v>
                </c:pt>
                <c:pt idx="7">
                  <c:v>193.983231957915</c:v>
                </c:pt>
                <c:pt idx="8">
                  <c:v>295.92105428145101</c:v>
                </c:pt>
                <c:pt idx="9">
                  <c:v>226.62134239818701</c:v>
                </c:pt>
                <c:pt idx="10">
                  <c:v>222.204156843617</c:v>
                </c:pt>
                <c:pt idx="11">
                  <c:v>268.89752016731398</c:v>
                </c:pt>
                <c:pt idx="12">
                  <c:v>172.00602021070699</c:v>
                </c:pt>
                <c:pt idx="13">
                  <c:v>177.007354960783</c:v>
                </c:pt>
                <c:pt idx="14">
                  <c:v>72.950102130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Jihomoravs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Hlavní město Praha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55.30651625352499</c:v>
                </c:pt>
                <c:pt idx="1">
                  <c:v>139.69436566058499</c:v>
                </c:pt>
                <c:pt idx="2">
                  <c:v>152.87311531428901</c:v>
                </c:pt>
                <c:pt idx="3">
                  <c:v>159.246459307447</c:v>
                </c:pt>
                <c:pt idx="4">
                  <c:v>151.51515151515099</c:v>
                </c:pt>
                <c:pt idx="5">
                  <c:v>244.75610054580599</c:v>
                </c:pt>
                <c:pt idx="6">
                  <c:v>158.127990240841</c:v>
                </c:pt>
                <c:pt idx="7">
                  <c:v>69.044879171461005</c:v>
                </c:pt>
                <c:pt idx="8">
                  <c:v>125.390277237902</c:v>
                </c:pt>
                <c:pt idx="9">
                  <c:v>173.29867359861299</c:v>
                </c:pt>
                <c:pt idx="10">
                  <c:v>157.16879386499701</c:v>
                </c:pt>
                <c:pt idx="11">
                  <c:v>224.08126680609499</c:v>
                </c:pt>
                <c:pt idx="12">
                  <c:v>50.168422561455998</c:v>
                </c:pt>
                <c:pt idx="13">
                  <c:v>167.85180211798399</c:v>
                </c:pt>
                <c:pt idx="14">
                  <c:v>124.0151736212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Jihomoravs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Hlavní město Praha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45.46534065607801</c:v>
                </c:pt>
                <c:pt idx="1">
                  <c:v>42.331625957752998</c:v>
                </c:pt>
                <c:pt idx="2">
                  <c:v>91.424117982073994</c:v>
                </c:pt>
                <c:pt idx="3">
                  <c:v>155.85823676899</c:v>
                </c:pt>
                <c:pt idx="4">
                  <c:v>72.150072150072006</c:v>
                </c:pt>
                <c:pt idx="5">
                  <c:v>163.98658736569001</c:v>
                </c:pt>
                <c:pt idx="6">
                  <c:v>94.841537067527</c:v>
                </c:pt>
                <c:pt idx="7">
                  <c:v>55.893473614991997</c:v>
                </c:pt>
                <c:pt idx="8">
                  <c:v>82.757582977015005</c:v>
                </c:pt>
                <c:pt idx="9">
                  <c:v>111.644337799106</c:v>
                </c:pt>
                <c:pt idx="10">
                  <c:v>75.874590141721995</c:v>
                </c:pt>
                <c:pt idx="11">
                  <c:v>134.44876008365699</c:v>
                </c:pt>
                <c:pt idx="12">
                  <c:v>50.168422561455998</c:v>
                </c:pt>
                <c:pt idx="13">
                  <c:v>82.399975585191996</c:v>
                </c:pt>
                <c:pt idx="14">
                  <c:v>14.590020426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Jihomoravský kraj</c:v>
                </c:pt>
                <c:pt idx="3">
                  <c:v>Zlínský kraj</c:v>
                </c:pt>
                <c:pt idx="4">
                  <c:v>Pardubický kraj</c:v>
                </c:pt>
                <c:pt idx="5">
                  <c:v>Ústecký kraj</c:v>
                </c:pt>
                <c:pt idx="6">
                  <c:v>ČR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Hlavní město Praha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26.718123793973</c:v>
                </c:pt>
                <c:pt idx="1">
                  <c:v>25.398975574651001</c:v>
                </c:pt>
                <c:pt idx="2">
                  <c:v>22.481340487394998</c:v>
                </c:pt>
                <c:pt idx="3">
                  <c:v>20.329335230737001</c:v>
                </c:pt>
                <c:pt idx="4">
                  <c:v>18.037518037518002</c:v>
                </c:pt>
                <c:pt idx="5">
                  <c:v>17.132927038205999</c:v>
                </c:pt>
                <c:pt idx="6">
                  <c:v>14.279116175594</c:v>
                </c:pt>
                <c:pt idx="7">
                  <c:v>13.151405556467999</c:v>
                </c:pt>
                <c:pt idx="8">
                  <c:v>12.539027723789999</c:v>
                </c:pt>
                <c:pt idx="9">
                  <c:v>11.664333799906</c:v>
                </c:pt>
                <c:pt idx="10">
                  <c:v>9.4843237677150007</c:v>
                </c:pt>
                <c:pt idx="11">
                  <c:v>7.4693755602029999</c:v>
                </c:pt>
                <c:pt idx="12">
                  <c:v>7.166917508779</c:v>
                </c:pt>
                <c:pt idx="13">
                  <c:v>3.0518509475990001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42.557215812369002</c:v>
                </c:pt>
                <c:pt idx="1">
                  <c:v>41.861610440778001</c:v>
                </c:pt>
                <c:pt idx="2">
                  <c:v>41.384610836855003</c:v>
                </c:pt>
                <c:pt idx="3">
                  <c:v>30.619163222009998</c:v>
                </c:pt>
                <c:pt idx="4">
                  <c:v>28.480439116587998</c:v>
                </c:pt>
                <c:pt idx="5">
                  <c:v>28.017796904592998</c:v>
                </c:pt>
                <c:pt idx="6">
                  <c:v>27.108161564642</c:v>
                </c:pt>
                <c:pt idx="7">
                  <c:v>26.505201645822002</c:v>
                </c:pt>
                <c:pt idx="8">
                  <c:v>24.337025847599001</c:v>
                </c:pt>
                <c:pt idx="9">
                  <c:v>23.151071263205999</c:v>
                </c:pt>
                <c:pt idx="10">
                  <c:v>19.594396002743</c:v>
                </c:pt>
                <c:pt idx="11">
                  <c:v>16.399971885762</c:v>
                </c:pt>
                <c:pt idx="12">
                  <c:v>13.701257775463</c:v>
                </c:pt>
                <c:pt idx="13">
                  <c:v>9.6581031485410005</c:v>
                </c:pt>
                <c:pt idx="14">
                  <c:v>5.020584396022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86.07906184981999</c:v>
                </c:pt>
                <c:pt idx="1">
                  <c:v>327.50554050726402</c:v>
                </c:pt>
                <c:pt idx="2">
                  <c:v>384.28567205651899</c:v>
                </c:pt>
                <c:pt idx="3">
                  <c:v>310.565798394681</c:v>
                </c:pt>
                <c:pt idx="4">
                  <c:v>396.13701680345901</c:v>
                </c:pt>
                <c:pt idx="5">
                  <c:v>288.02295217922398</c:v>
                </c:pt>
                <c:pt idx="6">
                  <c:v>255.01751990441801</c:v>
                </c:pt>
                <c:pt idx="7">
                  <c:v>328.68950531541799</c:v>
                </c:pt>
                <c:pt idx="8">
                  <c:v>349.11043974488001</c:v>
                </c:pt>
                <c:pt idx="9">
                  <c:v>441.974996843035</c:v>
                </c:pt>
                <c:pt idx="10">
                  <c:v>463.73403873158901</c:v>
                </c:pt>
                <c:pt idx="11">
                  <c:v>318.62802520909901</c:v>
                </c:pt>
                <c:pt idx="12">
                  <c:v>443.92075192502602</c:v>
                </c:pt>
                <c:pt idx="13">
                  <c:v>96.581031485416005</c:v>
                </c:pt>
                <c:pt idx="14">
                  <c:v>225.9262978210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35.24683185171099</c:v>
                </c:pt>
                <c:pt idx="1">
                  <c:v>312.73085446934198</c:v>
                </c:pt>
                <c:pt idx="2">
                  <c:v>224.65931597150299</c:v>
                </c:pt>
                <c:pt idx="3">
                  <c:v>251.514555037945</c:v>
                </c:pt>
                <c:pt idx="4">
                  <c:v>346.94353105662401</c:v>
                </c:pt>
                <c:pt idx="5">
                  <c:v>209.57312084636101</c:v>
                </c:pt>
                <c:pt idx="6">
                  <c:v>159.63695143622999</c:v>
                </c:pt>
                <c:pt idx="7">
                  <c:v>225.79431213375599</c:v>
                </c:pt>
                <c:pt idx="8">
                  <c:v>192.178583417254</c:v>
                </c:pt>
                <c:pt idx="9">
                  <c:v>345.16142610598899</c:v>
                </c:pt>
                <c:pt idx="10">
                  <c:v>262.89147970347102</c:v>
                </c:pt>
                <c:pt idx="11">
                  <c:v>156.971159478012</c:v>
                </c:pt>
                <c:pt idx="12">
                  <c:v>350.75219905187203</c:v>
                </c:pt>
                <c:pt idx="13">
                  <c:v>96.581031485416005</c:v>
                </c:pt>
                <c:pt idx="14">
                  <c:v>100.411687920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89.14318138831001</c:v>
                </c:pt>
                <c:pt idx="1">
                  <c:v>216.695395222851</c:v>
                </c:pt>
                <c:pt idx="2">
                  <c:v>94.593396198527003</c:v>
                </c:pt>
                <c:pt idx="3">
                  <c:v>131.224985237189</c:v>
                </c:pt>
                <c:pt idx="4">
                  <c:v>150.169588069285</c:v>
                </c:pt>
                <c:pt idx="5">
                  <c:v>187.15888332268599</c:v>
                </c:pt>
                <c:pt idx="6">
                  <c:v>117.468700113452</c:v>
                </c:pt>
                <c:pt idx="7">
                  <c:v>146.77880534054799</c:v>
                </c:pt>
                <c:pt idx="8">
                  <c:v>125.88116817724</c:v>
                </c:pt>
                <c:pt idx="9">
                  <c:v>212.56892705307899</c:v>
                </c:pt>
                <c:pt idx="10">
                  <c:v>189.41249469318399</c:v>
                </c:pt>
                <c:pt idx="11">
                  <c:v>74.971300049199002</c:v>
                </c:pt>
                <c:pt idx="12">
                  <c:v>189.07735730140001</c:v>
                </c:pt>
                <c:pt idx="13">
                  <c:v>24.145257871354001</c:v>
                </c:pt>
                <c:pt idx="14">
                  <c:v>47.695551762225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Moravskoslez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42.557215812369002</c:v>
                </c:pt>
                <c:pt idx="1">
                  <c:v>41.861610440778001</c:v>
                </c:pt>
                <c:pt idx="2">
                  <c:v>41.384610836855003</c:v>
                </c:pt>
                <c:pt idx="3">
                  <c:v>30.619163222009998</c:v>
                </c:pt>
                <c:pt idx="4">
                  <c:v>28.480439116587998</c:v>
                </c:pt>
                <c:pt idx="5">
                  <c:v>28.017796904592998</c:v>
                </c:pt>
                <c:pt idx="6">
                  <c:v>27.108161564642</c:v>
                </c:pt>
                <c:pt idx="7">
                  <c:v>26.505201645822002</c:v>
                </c:pt>
                <c:pt idx="8">
                  <c:v>24.337025847599001</c:v>
                </c:pt>
                <c:pt idx="9">
                  <c:v>23.151071263205999</c:v>
                </c:pt>
                <c:pt idx="10">
                  <c:v>19.594396002743</c:v>
                </c:pt>
                <c:pt idx="11">
                  <c:v>16.399971885762</c:v>
                </c:pt>
                <c:pt idx="12">
                  <c:v>13.701257775463</c:v>
                </c:pt>
                <c:pt idx="13">
                  <c:v>9.6581031485410005</c:v>
                </c:pt>
                <c:pt idx="14">
                  <c:v>5.020584396022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89.888625800227999</c:v>
                </c:pt>
                <c:pt idx="1">
                  <c:v>89.577815859167998</c:v>
                </c:pt>
                <c:pt idx="2">
                  <c:v>66.364340227849993</c:v>
                </c:pt>
                <c:pt idx="3">
                  <c:v>46.191316032585</c:v>
                </c:pt>
                <c:pt idx="4">
                  <c:v>41.950939480248998</c:v>
                </c:pt>
                <c:pt idx="5">
                  <c:v>39.734973656305002</c:v>
                </c:pt>
                <c:pt idx="6">
                  <c:v>36.618655540512997</c:v>
                </c:pt>
                <c:pt idx="7">
                  <c:v>34.917344099513997</c:v>
                </c:pt>
                <c:pt idx="8">
                  <c:v>32.834158945879999</c:v>
                </c:pt>
                <c:pt idx="9">
                  <c:v>32.162295893122</c:v>
                </c:pt>
                <c:pt idx="10">
                  <c:v>31.959730739268</c:v>
                </c:pt>
                <c:pt idx="11">
                  <c:v>26.376468786427001</c:v>
                </c:pt>
                <c:pt idx="12">
                  <c:v>21.625258301696</c:v>
                </c:pt>
                <c:pt idx="13">
                  <c:v>12.564392511622</c:v>
                </c:pt>
                <c:pt idx="14">
                  <c:v>2.267985122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39.82285363500802</c:v>
                </c:pt>
                <c:pt idx="1">
                  <c:v>537.46689515500805</c:v>
                </c:pt>
                <c:pt idx="2">
                  <c:v>522.61917929432502</c:v>
                </c:pt>
                <c:pt idx="3">
                  <c:v>341.18585705887199</c:v>
                </c:pt>
                <c:pt idx="4">
                  <c:v>355.47901349053802</c:v>
                </c:pt>
                <c:pt idx="5">
                  <c:v>411.70177182398902</c:v>
                </c:pt>
                <c:pt idx="6">
                  <c:v>346.21274329212798</c:v>
                </c:pt>
                <c:pt idx="7">
                  <c:v>340.44410497026502</c:v>
                </c:pt>
                <c:pt idx="8">
                  <c:v>612.42844294707902</c:v>
                </c:pt>
                <c:pt idx="9">
                  <c:v>482.434438396833</c:v>
                </c:pt>
                <c:pt idx="10">
                  <c:v>449.43371352096301</c:v>
                </c:pt>
                <c:pt idx="11">
                  <c:v>451.80338469654203</c:v>
                </c:pt>
                <c:pt idx="12">
                  <c:v>521.40900571867905</c:v>
                </c:pt>
                <c:pt idx="13">
                  <c:v>113.079532604598</c:v>
                </c:pt>
                <c:pt idx="14">
                  <c:v>265.354259276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97.316495659037</c:v>
                </c:pt>
                <c:pt idx="1">
                  <c:v>368.04798255179901</c:v>
                </c:pt>
                <c:pt idx="2">
                  <c:v>345.64760535339002</c:v>
                </c:pt>
                <c:pt idx="3">
                  <c:v>293.94473838918202</c:v>
                </c:pt>
                <c:pt idx="4">
                  <c:v>357.68695767371003</c:v>
                </c:pt>
                <c:pt idx="5">
                  <c:v>289.29433059023597</c:v>
                </c:pt>
                <c:pt idx="6">
                  <c:v>250.78230764109199</c:v>
                </c:pt>
                <c:pt idx="7">
                  <c:v>200.77472857220701</c:v>
                </c:pt>
                <c:pt idx="8">
                  <c:v>362.60332053276898</c:v>
                </c:pt>
                <c:pt idx="9">
                  <c:v>452.74616526471999</c:v>
                </c:pt>
                <c:pt idx="10">
                  <c:v>335.57717276231898</c:v>
                </c:pt>
                <c:pt idx="11">
                  <c:v>265.46639552791203</c:v>
                </c:pt>
                <c:pt idx="12">
                  <c:v>394.060262386467</c:v>
                </c:pt>
                <c:pt idx="13">
                  <c:v>129.83205595342699</c:v>
                </c:pt>
                <c:pt idx="14">
                  <c:v>161.026943663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00.85065333684101</c:v>
                </c:pt>
                <c:pt idx="1">
                  <c:v>198.62906994859</c:v>
                </c:pt>
                <c:pt idx="2">
                  <c:v>116.13759539873899</c:v>
                </c:pt>
                <c:pt idx="3">
                  <c:v>149.071974468799</c:v>
                </c:pt>
                <c:pt idx="4">
                  <c:v>223.00236250027501</c:v>
                </c:pt>
                <c:pt idx="5">
                  <c:v>148.620662660748</c:v>
                </c:pt>
                <c:pt idx="6">
                  <c:v>175.32568410306399</c:v>
                </c:pt>
                <c:pt idx="7">
                  <c:v>106.93436630476199</c:v>
                </c:pt>
                <c:pt idx="8">
                  <c:v>209.85310282802001</c:v>
                </c:pt>
                <c:pt idx="9">
                  <c:v>239.98020781791101</c:v>
                </c:pt>
                <c:pt idx="10">
                  <c:v>155.80368735393401</c:v>
                </c:pt>
                <c:pt idx="11">
                  <c:v>124.22465944575301</c:v>
                </c:pt>
                <c:pt idx="12">
                  <c:v>153.77961458984001</c:v>
                </c:pt>
                <c:pt idx="13">
                  <c:v>58.633831720902002</c:v>
                </c:pt>
                <c:pt idx="14">
                  <c:v>40.82373219631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Liberecký kraj</c:v>
                </c:pt>
                <c:pt idx="3">
                  <c:v>Moravskoslez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Jihomoravský kraj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Kraj Vysočina</c:v>
                </c:pt>
                <c:pt idx="10">
                  <c:v>Olomoucký kraj</c:v>
                </c:pt>
                <c:pt idx="11">
                  <c:v>Středočes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89.888625800227999</c:v>
                </c:pt>
                <c:pt idx="1">
                  <c:v>89.577815859167998</c:v>
                </c:pt>
                <c:pt idx="2">
                  <c:v>66.364340227849993</c:v>
                </c:pt>
                <c:pt idx="3">
                  <c:v>46.191316032585</c:v>
                </c:pt>
                <c:pt idx="4">
                  <c:v>41.950939480248998</c:v>
                </c:pt>
                <c:pt idx="5">
                  <c:v>39.734973656305002</c:v>
                </c:pt>
                <c:pt idx="6">
                  <c:v>36.618655540512997</c:v>
                </c:pt>
                <c:pt idx="7">
                  <c:v>34.917344099513997</c:v>
                </c:pt>
                <c:pt idx="8">
                  <c:v>32.834158945879999</c:v>
                </c:pt>
                <c:pt idx="9">
                  <c:v>32.162295893122</c:v>
                </c:pt>
                <c:pt idx="10">
                  <c:v>31.959730739268</c:v>
                </c:pt>
                <c:pt idx="11">
                  <c:v>26.376468786427001</c:v>
                </c:pt>
                <c:pt idx="12">
                  <c:v>21.625258301696</c:v>
                </c:pt>
                <c:pt idx="13">
                  <c:v>12.564392511622</c:v>
                </c:pt>
                <c:pt idx="14">
                  <c:v>2.267985122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oravskoslezský kraj</c:v>
                </c:pt>
                <c:pt idx="1">
                  <c:v>Kraj Vysočina</c:v>
                </c:pt>
                <c:pt idx="2">
                  <c:v>Zlínský kraj</c:v>
                </c:pt>
                <c:pt idx="3">
                  <c:v>Olomouc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68.884654843910297</c:v>
                </c:pt>
                <c:pt idx="1">
                  <c:v>65.272512740692392</c:v>
                </c:pt>
                <c:pt idx="2">
                  <c:v>51.981243434660662</c:v>
                </c:pt>
                <c:pt idx="3">
                  <c:v>43.890357706415308</c:v>
                </c:pt>
                <c:pt idx="4">
                  <c:v>41.422290840966646</c:v>
                </c:pt>
                <c:pt idx="5">
                  <c:v>34.501794093292851</c:v>
                </c:pt>
                <c:pt idx="6">
                  <c:v>34.410960182436412</c:v>
                </c:pt>
                <c:pt idx="7">
                  <c:v>34.17451787126258</c:v>
                </c:pt>
                <c:pt idx="8">
                  <c:v>33.437227576159259</c:v>
                </c:pt>
                <c:pt idx="9">
                  <c:v>31.490025876586483</c:v>
                </c:pt>
                <c:pt idx="10">
                  <c:v>26.892828797628184</c:v>
                </c:pt>
                <c:pt idx="11">
                  <c:v>22.763487366264513</c:v>
                </c:pt>
                <c:pt idx="12">
                  <c:v>13.995198570336639</c:v>
                </c:pt>
                <c:pt idx="13">
                  <c:v>9.0232348296864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Zlínský kraj</c:v>
                </c:pt>
                <c:pt idx="2">
                  <c:v>Ústecký kraj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Moravskoslezský kraj</c:v>
                </c:pt>
                <c:pt idx="7">
                  <c:v>Hlavní město Praha</c:v>
                </c:pt>
                <c:pt idx="8">
                  <c:v>Kraj Vysočina</c:v>
                </c:pt>
                <c:pt idx="9">
                  <c:v>Středočeský kraj</c:v>
                </c:pt>
                <c:pt idx="10">
                  <c:v>Královéhradec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61.863287861907395</c:v>
                </c:pt>
                <c:pt idx="1">
                  <c:v>55.358627631175878</c:v>
                </c:pt>
                <c:pt idx="2">
                  <c:v>44.651221429784641</c:v>
                </c:pt>
                <c:pt idx="3">
                  <c:v>43.502795875442466</c:v>
                </c:pt>
                <c:pt idx="4">
                  <c:v>41.739942355359233</c:v>
                </c:pt>
                <c:pt idx="5">
                  <c:v>35.676180314750603</c:v>
                </c:pt>
                <c:pt idx="6">
                  <c:v>34.503686387340409</c:v>
                </c:pt>
                <c:pt idx="7">
                  <c:v>33.525740254125111</c:v>
                </c:pt>
                <c:pt idx="8">
                  <c:v>33.357978406932482</c:v>
                </c:pt>
                <c:pt idx="9">
                  <c:v>30.885256993847658</c:v>
                </c:pt>
                <c:pt idx="10">
                  <c:v>29.183433841383476</c:v>
                </c:pt>
                <c:pt idx="11">
                  <c:v>27.682401436693372</c:v>
                </c:pt>
                <c:pt idx="12">
                  <c:v>27.590624114698166</c:v>
                </c:pt>
                <c:pt idx="13">
                  <c:v>24.315540903883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Kraj Vysočina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Olomoucký kraj</c:v>
                </c:pt>
                <c:pt idx="5">
                  <c:v>Jihočeský kraj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69.735999430726537</c:v>
                </c:pt>
                <c:pt idx="1">
                  <c:v>68.36772066902698</c:v>
                </c:pt>
                <c:pt idx="2">
                  <c:v>49.862877088007977</c:v>
                </c:pt>
                <c:pt idx="3">
                  <c:v>42.740483422148664</c:v>
                </c:pt>
                <c:pt idx="4">
                  <c:v>39.107545750814744</c:v>
                </c:pt>
                <c:pt idx="5">
                  <c:v>36.317067110117172</c:v>
                </c:pt>
                <c:pt idx="6">
                  <c:v>34.886730663185496</c:v>
                </c:pt>
                <c:pt idx="7">
                  <c:v>33.707573832551148</c:v>
                </c:pt>
                <c:pt idx="8">
                  <c:v>32.639879060658636</c:v>
                </c:pt>
                <c:pt idx="9">
                  <c:v>30.317010479140578</c:v>
                </c:pt>
                <c:pt idx="10">
                  <c:v>26.219192448872576</c:v>
                </c:pt>
                <c:pt idx="11">
                  <c:v>22.042210833746626</c:v>
                </c:pt>
                <c:pt idx="12">
                  <c:v>14.594735470419598</c:v>
                </c:pt>
                <c:pt idx="13">
                  <c:v>8.7904360056258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271.47949272117597</c:v>
                </c:pt>
                <c:pt idx="1">
                  <c:v>266.19093117466002</c:v>
                </c:pt>
                <c:pt idx="2">
                  <c:v>341.99364667472798</c:v>
                </c:pt>
                <c:pt idx="3">
                  <c:v>443.88659913761097</c:v>
                </c:pt>
                <c:pt idx="4">
                  <c:v>443.53402836784397</c:v>
                </c:pt>
                <c:pt idx="5">
                  <c:v>377.25072365150402</c:v>
                </c:pt>
                <c:pt idx="6">
                  <c:v>330.18252588750801</c:v>
                </c:pt>
                <c:pt idx="7">
                  <c:v>272.53720503047902</c:v>
                </c:pt>
                <c:pt idx="8">
                  <c:v>200.78905338274001</c:v>
                </c:pt>
                <c:pt idx="9">
                  <c:v>147.02201099315599</c:v>
                </c:pt>
                <c:pt idx="10">
                  <c:v>137.15002943965899</c:v>
                </c:pt>
                <c:pt idx="11">
                  <c:v>108.062940933818</c:v>
                </c:pt>
                <c:pt idx="12">
                  <c:v>91.315829369849993</c:v>
                </c:pt>
                <c:pt idx="13">
                  <c:v>74.921288575649001</c:v>
                </c:pt>
                <c:pt idx="14">
                  <c:v>60.113316245402999</c:v>
                </c:pt>
                <c:pt idx="15">
                  <c:v>38.253928519802002</c:v>
                </c:pt>
                <c:pt idx="16">
                  <c:v>23.445956189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516.35133394928698</c:v>
                </c:pt>
                <c:pt idx="1">
                  <c:v>496.847506323115</c:v>
                </c:pt>
                <c:pt idx="2">
                  <c:v>660.50462403246604</c:v>
                </c:pt>
                <c:pt idx="3">
                  <c:v>783.903841128821</c:v>
                </c:pt>
                <c:pt idx="4">
                  <c:v>707.63887412904705</c:v>
                </c:pt>
                <c:pt idx="5">
                  <c:v>555.60903827376103</c:v>
                </c:pt>
                <c:pt idx="6">
                  <c:v>444.21217663966502</c:v>
                </c:pt>
                <c:pt idx="7">
                  <c:v>356.56997685795801</c:v>
                </c:pt>
                <c:pt idx="8">
                  <c:v>255.050053573013</c:v>
                </c:pt>
                <c:pt idx="9">
                  <c:v>191.162515643695</c:v>
                </c:pt>
                <c:pt idx="10">
                  <c:v>198.91403687973701</c:v>
                </c:pt>
                <c:pt idx="11">
                  <c:v>174.90932595521801</c:v>
                </c:pt>
                <c:pt idx="12">
                  <c:v>142.527971114331</c:v>
                </c:pt>
                <c:pt idx="13">
                  <c:v>117.27301482916</c:v>
                </c:pt>
                <c:pt idx="14">
                  <c:v>75.264770711251998</c:v>
                </c:pt>
                <c:pt idx="15">
                  <c:v>63.512464321122998</c:v>
                </c:pt>
                <c:pt idx="16">
                  <c:v>43.883612158886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437.20332208102099</c:v>
                </c:pt>
                <c:pt idx="1">
                  <c:v>417.86958863034101</c:v>
                </c:pt>
                <c:pt idx="2">
                  <c:v>537.54895704590001</c:v>
                </c:pt>
                <c:pt idx="3">
                  <c:v>687.71157390823703</c:v>
                </c:pt>
                <c:pt idx="4">
                  <c:v>722.82068495977796</c:v>
                </c:pt>
                <c:pt idx="5">
                  <c:v>694.70967374621296</c:v>
                </c:pt>
                <c:pt idx="6">
                  <c:v>601.00630303432797</c:v>
                </c:pt>
                <c:pt idx="7">
                  <c:v>451.19952175697301</c:v>
                </c:pt>
                <c:pt idx="8">
                  <c:v>339.82298365765701</c:v>
                </c:pt>
                <c:pt idx="9">
                  <c:v>251.69437044382099</c:v>
                </c:pt>
                <c:pt idx="10">
                  <c:v>229.158116728305</c:v>
                </c:pt>
                <c:pt idx="11">
                  <c:v>170.08940962131899</c:v>
                </c:pt>
                <c:pt idx="12">
                  <c:v>143.16451702436001</c:v>
                </c:pt>
                <c:pt idx="13">
                  <c:v>114.93489394913399</c:v>
                </c:pt>
                <c:pt idx="14">
                  <c:v>77.690769387700996</c:v>
                </c:pt>
                <c:pt idx="15">
                  <c:v>59.898990138609001</c:v>
                </c:pt>
                <c:pt idx="16">
                  <c:v>46.851685355942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423.31183142090401</c:v>
                </c:pt>
                <c:pt idx="1">
                  <c:v>407.521340915785</c:v>
                </c:pt>
                <c:pt idx="2">
                  <c:v>531.85448678417299</c:v>
                </c:pt>
                <c:pt idx="3">
                  <c:v>659.94296420535602</c:v>
                </c:pt>
                <c:pt idx="4">
                  <c:v>645.64555732966005</c:v>
                </c:pt>
                <c:pt idx="5">
                  <c:v>562.89252829280304</c:v>
                </c:pt>
                <c:pt idx="6">
                  <c:v>474.755349198327</c:v>
                </c:pt>
                <c:pt idx="7">
                  <c:v>371.09914934953503</c:v>
                </c:pt>
                <c:pt idx="8">
                  <c:v>273.46052897690703</c:v>
                </c:pt>
                <c:pt idx="9">
                  <c:v>202.923638726245</c:v>
                </c:pt>
                <c:pt idx="10">
                  <c:v>194.598566368246</c:v>
                </c:pt>
                <c:pt idx="11">
                  <c:v>155.914126878627</c:v>
                </c:pt>
                <c:pt idx="12">
                  <c:v>129.62680600907299</c:v>
                </c:pt>
                <c:pt idx="13">
                  <c:v>105.511243145954</c:v>
                </c:pt>
                <c:pt idx="14">
                  <c:v>72.301443630888997</c:v>
                </c:pt>
                <c:pt idx="15">
                  <c:v>55.651298914889999</c:v>
                </c:pt>
                <c:pt idx="16">
                  <c:v>39.770318492835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510.14892199678599</c:v>
                </c:pt>
                <c:pt idx="1">
                  <c:v>499.60861640080799</c:v>
                </c:pt>
                <c:pt idx="2">
                  <c:v>619.40180588700298</c:v>
                </c:pt>
                <c:pt idx="3">
                  <c:v>773.89016795995599</c:v>
                </c:pt>
                <c:pt idx="4">
                  <c:v>796.81159493418704</c:v>
                </c:pt>
                <c:pt idx="5">
                  <c:v>719.92716723587102</c:v>
                </c:pt>
                <c:pt idx="6">
                  <c:v>606.56281662381798</c:v>
                </c:pt>
                <c:pt idx="7">
                  <c:v>461.66164740678101</c:v>
                </c:pt>
                <c:pt idx="8">
                  <c:v>345.690253123383</c:v>
                </c:pt>
                <c:pt idx="9">
                  <c:v>255.49962403440099</c:v>
                </c:pt>
                <c:pt idx="10">
                  <c:v>200.83580511909301</c:v>
                </c:pt>
                <c:pt idx="11">
                  <c:v>163.225228856852</c:v>
                </c:pt>
                <c:pt idx="12">
                  <c:v>134.35151937851001</c:v>
                </c:pt>
                <c:pt idx="13">
                  <c:v>101.151425599692</c:v>
                </c:pt>
                <c:pt idx="14">
                  <c:v>71.249849440890998</c:v>
                </c:pt>
                <c:pt idx="15">
                  <c:v>46.562360624782002</c:v>
                </c:pt>
                <c:pt idx="16">
                  <c:v>29.761412520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5.8641006224257983E-2"/>
                  <c:y val="0.1080316202376029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ECA-480F-AC39-EDF76856668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23.33593488683198</c:v>
                </c:pt>
                <c:pt idx="1">
                  <c:v>404.70367198601298</c:v>
                </c:pt>
                <c:pt idx="2">
                  <c:v>455.23232505343401</c:v>
                </c:pt>
                <c:pt idx="3">
                  <c:v>479.19192110887798</c:v>
                </c:pt>
                <c:pt idx="4">
                  <c:v>447.52255404549402</c:v>
                </c:pt>
                <c:pt idx="5">
                  <c:v>379.79518103728401</c:v>
                </c:pt>
                <c:pt idx="6">
                  <c:v>308.50945217925499</c:v>
                </c:pt>
                <c:pt idx="7">
                  <c:v>241.96819778765101</c:v>
                </c:pt>
                <c:pt idx="8">
                  <c:v>292.85268644005401</c:v>
                </c:pt>
                <c:pt idx="9">
                  <c:v>257.74357538851302</c:v>
                </c:pt>
                <c:pt idx="10">
                  <c:v>236.274828427942</c:v>
                </c:pt>
                <c:pt idx="11">
                  <c:v>278.50065117911998</c:v>
                </c:pt>
                <c:pt idx="12">
                  <c:v>378.96489800566002</c:v>
                </c:pt>
                <c:pt idx="13">
                  <c:v>619.98420090002605</c:v>
                </c:pt>
                <c:pt idx="14">
                  <c:v>972.49865375537001</c:v>
                </c:pt>
                <c:pt idx="15">
                  <c:v>1257.2857336024999</c:v>
                </c:pt>
                <c:pt idx="16">
                  <c:v>1109.1395183883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CA-480F-AC39-EDF768566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2.7365802904653725E-2"/>
                  <c:y val="-7.9849458436489218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F37-4491-852B-AB561D3BC9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864.8659799485599</c:v>
                </c:pt>
                <c:pt idx="1">
                  <c:v>2365.83929596183</c:v>
                </c:pt>
                <c:pt idx="2">
                  <c:v>2624.0149629364701</c:v>
                </c:pt>
                <c:pt idx="3">
                  <c:v>2047.7768762119499</c:v>
                </c:pt>
                <c:pt idx="4">
                  <c:v>1333.3866771353801</c:v>
                </c:pt>
                <c:pt idx="5">
                  <c:v>1087.96351283939</c:v>
                </c:pt>
                <c:pt idx="6">
                  <c:v>881.67302833180997</c:v>
                </c:pt>
                <c:pt idx="7">
                  <c:v>608.494417029342</c:v>
                </c:pt>
                <c:pt idx="8">
                  <c:v>739.27008175354399</c:v>
                </c:pt>
                <c:pt idx="9">
                  <c:v>803.28264421892698</c:v>
                </c:pt>
                <c:pt idx="10">
                  <c:v>1054.2068881017799</c:v>
                </c:pt>
                <c:pt idx="11">
                  <c:v>1199.1103254013599</c:v>
                </c:pt>
                <c:pt idx="12">
                  <c:v>950.06144955947605</c:v>
                </c:pt>
                <c:pt idx="13">
                  <c:v>1275.3752924011301</c:v>
                </c:pt>
                <c:pt idx="14">
                  <c:v>1514.1721562856701</c:v>
                </c:pt>
                <c:pt idx="15">
                  <c:v>1360.2669523894001</c:v>
                </c:pt>
                <c:pt idx="16">
                  <c:v>1466.5378080448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37-4491-852B-AB561D3BC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344-4D44-AC8D-B055E249C3B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44-4D44-AC8D-B055E249C3B6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344-4D44-AC8D-B055E249C3B6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344-4D44-AC8D-B055E249C3B6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344-4D44-AC8D-B055E249C3B6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344-4D44-AC8D-B055E249C3B6}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C344-4D44-AC8D-B055E249C3B6}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C344-4D44-AC8D-B055E249C3B6}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C344-4D44-AC8D-B055E249C3B6}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C344-4D44-AC8D-B055E249C3B6}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C344-4D44-AC8D-B055E249C3B6}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C344-4D44-AC8D-B055E249C3B6}"/>
                </c:ext>
              </c:extLst>
            </c:dLbl>
            <c:dLbl>
              <c:idx val="1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C344-4D44-AC8D-B055E249C3B6}"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C344-4D44-AC8D-B055E249C3B6}"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C344-4D44-AC8D-B055E249C3B6}"/>
                </c:ext>
              </c:extLst>
            </c:dLbl>
            <c:dLbl>
              <c:idx val="1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C344-4D44-AC8D-B055E249C3B6}"/>
                </c:ext>
              </c:extLst>
            </c:dLbl>
            <c:dLbl>
              <c:idx val="16"/>
              <c:layout>
                <c:manualLayout>
                  <c:x val="-6.2550406639208522E-2"/>
                  <c:y val="-0.1221227011381599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B37468E-673D-436E-985F-46C9EF4516A4}" type="VALUE">
                      <a:rPr lang="en-US" smtClean="0"/>
                      <a:pPr>
                        <a:defRPr/>
                      </a:pPr>
                      <a:t>[HODNOTA]</a:t>
                    </a:fld>
                    <a:endParaRPr lang="cs-CZ"/>
                  </a:p>
                </c:rich>
              </c:tx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9.02 - 15.02</c:v>
                </c:pt>
                <c:pt idx="1">
                  <c:v>16.02 - 22.02</c:v>
                </c:pt>
                <c:pt idx="2">
                  <c:v>23.02 - 01.03</c:v>
                </c:pt>
                <c:pt idx="3">
                  <c:v>02.03 - 08.03</c:v>
                </c:pt>
                <c:pt idx="4">
                  <c:v>09.03 - 15.03</c:v>
                </c:pt>
                <c:pt idx="5">
                  <c:v>16.03 - 22.03</c:v>
                </c:pt>
                <c:pt idx="6">
                  <c:v>23.03 - 29.03</c:v>
                </c:pt>
                <c:pt idx="7">
                  <c:v>30.03 - 05.04</c:v>
                </c:pt>
                <c:pt idx="8">
                  <c:v>06.04 - 12.04</c:v>
                </c:pt>
                <c:pt idx="9">
                  <c:v>13.04 - 19.04</c:v>
                </c:pt>
                <c:pt idx="10">
                  <c:v>20.04 - 26.04</c:v>
                </c:pt>
                <c:pt idx="11">
                  <c:v>27.04 - 03.05</c:v>
                </c:pt>
                <c:pt idx="12">
                  <c:v>04.05 - 10.05</c:v>
                </c:pt>
                <c:pt idx="13">
                  <c:v>11.05 - 17.05</c:v>
                </c:pt>
                <c:pt idx="14">
                  <c:v>18.05 - 24.05</c:v>
                </c:pt>
                <c:pt idx="15">
                  <c:v>25.05 - 31.05</c:v>
                </c:pt>
                <c:pt idx="16">
                  <c:v>01.06 - 07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68.65892656303402</c:v>
                </c:pt>
                <c:pt idx="1">
                  <c:v>296.33573198980298</c:v>
                </c:pt>
                <c:pt idx="2">
                  <c:v>388.709273668957</c:v>
                </c:pt>
                <c:pt idx="3">
                  <c:v>375.48786980266601</c:v>
                </c:pt>
                <c:pt idx="4">
                  <c:v>253.145812693252</c:v>
                </c:pt>
                <c:pt idx="5">
                  <c:v>206.60647108390799</c:v>
                </c:pt>
                <c:pt idx="6">
                  <c:v>169.58654025829301</c:v>
                </c:pt>
                <c:pt idx="7">
                  <c:v>117.406066332664</c:v>
                </c:pt>
                <c:pt idx="8">
                  <c:v>140.14688098268499</c:v>
                </c:pt>
                <c:pt idx="9">
                  <c:v>126.396620961742</c:v>
                </c:pt>
                <c:pt idx="10">
                  <c:v>111.412363246612</c:v>
                </c:pt>
                <c:pt idx="11">
                  <c:v>110.354650937309</c:v>
                </c:pt>
                <c:pt idx="12">
                  <c:v>127.454333271045</c:v>
                </c:pt>
                <c:pt idx="13">
                  <c:v>125.338908652439</c:v>
                </c:pt>
                <c:pt idx="14">
                  <c:v>121.813200954761</c:v>
                </c:pt>
                <c:pt idx="15">
                  <c:v>130.98004096872299</c:v>
                </c:pt>
                <c:pt idx="16">
                  <c:v>115.995783253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8571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3075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50896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4048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741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284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8812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758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19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03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5695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4567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84856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44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34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542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93027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056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4599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0273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071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0638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1459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2061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7443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04600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86771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767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9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9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93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696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4849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926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24502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7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729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4419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0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slideLayout" Target="../slideLayouts/slideLayout9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tags" Target="../tags/tag125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5" Type="http://schemas.openxmlformats.org/officeDocument/2006/relationships/notesSlide" Target="../notesSlides/notesSlide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128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134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140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5" Type="http://schemas.openxmlformats.org/officeDocument/2006/relationships/tags" Target="../tags/tag142.xml"/><Relationship Id="rId4" Type="http://schemas.openxmlformats.org/officeDocument/2006/relationships/tags" Target="../tags/tag14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chart" Target="../charts/chart6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slideLayout" Target="../slideLayouts/slideLayout9.xml"/><Relationship Id="rId5" Type="http://schemas.openxmlformats.org/officeDocument/2006/relationships/tags" Target="../tags/tag149.xml"/><Relationship Id="rId10" Type="http://schemas.openxmlformats.org/officeDocument/2006/relationships/tags" Target="../tags/tag154.xml"/><Relationship Id="rId4" Type="http://schemas.openxmlformats.org/officeDocument/2006/relationships/tags" Target="../tags/tag148.xml"/><Relationship Id="rId9" Type="http://schemas.openxmlformats.org/officeDocument/2006/relationships/tags" Target="../tags/tag15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26" Type="http://schemas.openxmlformats.org/officeDocument/2006/relationships/chart" Target="../charts/chart8.xml"/><Relationship Id="rId3" Type="http://schemas.openxmlformats.org/officeDocument/2006/relationships/tags" Target="../tags/tag157.xml"/><Relationship Id="rId21" Type="http://schemas.openxmlformats.org/officeDocument/2006/relationships/tags" Target="../tags/tag175.xml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5" Type="http://schemas.openxmlformats.org/officeDocument/2006/relationships/chart" Target="../charts/chart7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tags" Target="../tags/tag174.xml"/><Relationship Id="rId29" Type="http://schemas.openxmlformats.org/officeDocument/2006/relationships/chart" Target="../charts/chart11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24" Type="http://schemas.openxmlformats.org/officeDocument/2006/relationships/notesSlide" Target="../notesSlides/notesSlide11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0.xml"/><Relationship Id="rId10" Type="http://schemas.openxmlformats.org/officeDocument/2006/relationships/tags" Target="../tags/tag164.xml"/><Relationship Id="rId19" Type="http://schemas.openxmlformats.org/officeDocument/2006/relationships/tags" Target="../tags/tag173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tags" Target="../tags/tag176.xml"/><Relationship Id="rId27" Type="http://schemas.openxmlformats.org/officeDocument/2006/relationships/chart" Target="../charts/chart9.xml"/><Relationship Id="rId30" Type="http://schemas.openxmlformats.org/officeDocument/2006/relationships/chart" Target="../charts/char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tags" Target="../tags/tag189.xml"/><Relationship Id="rId18" Type="http://schemas.openxmlformats.org/officeDocument/2006/relationships/tags" Target="../tags/tag194.xml"/><Relationship Id="rId26" Type="http://schemas.openxmlformats.org/officeDocument/2006/relationships/chart" Target="../charts/chart14.xml"/><Relationship Id="rId3" Type="http://schemas.openxmlformats.org/officeDocument/2006/relationships/tags" Target="../tags/tag179.xml"/><Relationship Id="rId21" Type="http://schemas.openxmlformats.org/officeDocument/2006/relationships/tags" Target="../tags/tag197.xml"/><Relationship Id="rId7" Type="http://schemas.openxmlformats.org/officeDocument/2006/relationships/tags" Target="../tags/tag183.xml"/><Relationship Id="rId12" Type="http://schemas.openxmlformats.org/officeDocument/2006/relationships/tags" Target="../tags/tag188.xml"/><Relationship Id="rId17" Type="http://schemas.openxmlformats.org/officeDocument/2006/relationships/tags" Target="../tags/tag193.xml"/><Relationship Id="rId25" Type="http://schemas.openxmlformats.org/officeDocument/2006/relationships/chart" Target="../charts/chart13.xml"/><Relationship Id="rId2" Type="http://schemas.openxmlformats.org/officeDocument/2006/relationships/tags" Target="../tags/tag178.xml"/><Relationship Id="rId16" Type="http://schemas.openxmlformats.org/officeDocument/2006/relationships/tags" Target="../tags/tag192.xml"/><Relationship Id="rId20" Type="http://schemas.openxmlformats.org/officeDocument/2006/relationships/tags" Target="../tags/tag196.xml"/><Relationship Id="rId29" Type="http://schemas.openxmlformats.org/officeDocument/2006/relationships/chart" Target="../charts/chart17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tags" Target="../tags/tag187.xml"/><Relationship Id="rId24" Type="http://schemas.openxmlformats.org/officeDocument/2006/relationships/notesSlide" Target="../notesSlides/notesSlide12.xml"/><Relationship Id="rId5" Type="http://schemas.openxmlformats.org/officeDocument/2006/relationships/tags" Target="../tags/tag181.xml"/><Relationship Id="rId15" Type="http://schemas.openxmlformats.org/officeDocument/2006/relationships/tags" Target="../tags/tag191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6.xml"/><Relationship Id="rId10" Type="http://schemas.openxmlformats.org/officeDocument/2006/relationships/tags" Target="../tags/tag186.xml"/><Relationship Id="rId19" Type="http://schemas.openxmlformats.org/officeDocument/2006/relationships/tags" Target="../tags/tag195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tags" Target="../tags/tag190.xml"/><Relationship Id="rId22" Type="http://schemas.openxmlformats.org/officeDocument/2006/relationships/tags" Target="../tags/tag198.xml"/><Relationship Id="rId27" Type="http://schemas.openxmlformats.org/officeDocument/2006/relationships/chart" Target="../charts/chart15.xml"/><Relationship Id="rId30" Type="http://schemas.openxmlformats.org/officeDocument/2006/relationships/chart" Target="../charts/chart1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13" Type="http://schemas.openxmlformats.org/officeDocument/2006/relationships/tags" Target="../tags/tag211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tags" Target="../tags/tag210.xml"/><Relationship Id="rId2" Type="http://schemas.openxmlformats.org/officeDocument/2006/relationships/tags" Target="../tags/tag200.xml"/><Relationship Id="rId16" Type="http://schemas.openxmlformats.org/officeDocument/2006/relationships/chart" Target="../charts/chart20.xml"/><Relationship Id="rId1" Type="http://schemas.openxmlformats.org/officeDocument/2006/relationships/tags" Target="../tags/tag199.xml"/><Relationship Id="rId6" Type="http://schemas.openxmlformats.org/officeDocument/2006/relationships/tags" Target="../tags/tag204.xml"/><Relationship Id="rId11" Type="http://schemas.openxmlformats.org/officeDocument/2006/relationships/tags" Target="../tags/tag209.xml"/><Relationship Id="rId5" Type="http://schemas.openxmlformats.org/officeDocument/2006/relationships/tags" Target="../tags/tag203.xml"/><Relationship Id="rId15" Type="http://schemas.openxmlformats.org/officeDocument/2006/relationships/chart" Target="../charts/chart19.xml"/><Relationship Id="rId10" Type="http://schemas.openxmlformats.org/officeDocument/2006/relationships/tags" Target="../tags/tag208.xml"/><Relationship Id="rId4" Type="http://schemas.openxmlformats.org/officeDocument/2006/relationships/tags" Target="../tags/tag202.xml"/><Relationship Id="rId9" Type="http://schemas.openxmlformats.org/officeDocument/2006/relationships/tags" Target="../tags/tag207.xml"/><Relationship Id="rId14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2" Type="http://schemas.openxmlformats.org/officeDocument/2006/relationships/tags" Target="../tags/tag213.xml"/><Relationship Id="rId16" Type="http://schemas.openxmlformats.org/officeDocument/2006/relationships/chart" Target="../charts/chart22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5" Type="http://schemas.openxmlformats.org/officeDocument/2006/relationships/chart" Target="../charts/chart21.xml"/><Relationship Id="rId10" Type="http://schemas.openxmlformats.org/officeDocument/2006/relationships/tags" Target="../tags/tag221.xml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4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13" Type="http://schemas.openxmlformats.org/officeDocument/2006/relationships/tags" Target="../tags/tag237.xml"/><Relationship Id="rId18" Type="http://schemas.openxmlformats.org/officeDocument/2006/relationships/chart" Target="../charts/chart23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12" Type="http://schemas.openxmlformats.org/officeDocument/2006/relationships/tags" Target="../tags/tag236.xml"/><Relationship Id="rId17" Type="http://schemas.openxmlformats.org/officeDocument/2006/relationships/slideLayout" Target="../slideLayouts/slideLayout27.xml"/><Relationship Id="rId2" Type="http://schemas.openxmlformats.org/officeDocument/2006/relationships/tags" Target="../tags/tag226.xml"/><Relationship Id="rId16" Type="http://schemas.openxmlformats.org/officeDocument/2006/relationships/tags" Target="../tags/tag240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11" Type="http://schemas.openxmlformats.org/officeDocument/2006/relationships/tags" Target="../tags/tag235.xml"/><Relationship Id="rId5" Type="http://schemas.openxmlformats.org/officeDocument/2006/relationships/tags" Target="../tags/tag229.xml"/><Relationship Id="rId15" Type="http://schemas.openxmlformats.org/officeDocument/2006/relationships/tags" Target="../tags/tag239.xml"/><Relationship Id="rId10" Type="http://schemas.openxmlformats.org/officeDocument/2006/relationships/tags" Target="../tags/tag234.xml"/><Relationship Id="rId19" Type="http://schemas.openxmlformats.org/officeDocument/2006/relationships/chart" Target="../charts/chart24.xml"/><Relationship Id="rId4" Type="http://schemas.openxmlformats.org/officeDocument/2006/relationships/tags" Target="../tags/tag228.xml"/><Relationship Id="rId9" Type="http://schemas.openxmlformats.org/officeDocument/2006/relationships/tags" Target="../tags/tag233.xml"/><Relationship Id="rId14" Type="http://schemas.openxmlformats.org/officeDocument/2006/relationships/tags" Target="../tags/tag23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chart" Target="../charts/chart1.xml"/><Relationship Id="rId5" Type="http://schemas.openxmlformats.org/officeDocument/2006/relationships/tags" Target="../tags/tag10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9.xml"/><Relationship Id="rId9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chart" Target="../charts/chart3.xml"/><Relationship Id="rId4" Type="http://schemas.openxmlformats.org/officeDocument/2006/relationships/tags" Target="../tags/tag18.xml"/><Relationship Id="rId9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chart" Target="../charts/chart5.xml"/><Relationship Id="rId5" Type="http://schemas.openxmlformats.org/officeDocument/2006/relationships/tags" Target="../tags/tag25.xml"/><Relationship Id="rId10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9" Type="http://schemas.openxmlformats.org/officeDocument/2006/relationships/image" Target="../media/image17.png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34" Type="http://schemas.openxmlformats.org/officeDocument/2006/relationships/image" Target="../media/image12.png"/><Relationship Id="rId42" Type="http://schemas.openxmlformats.org/officeDocument/2006/relationships/image" Target="../media/image20.png"/><Relationship Id="rId47" Type="http://schemas.openxmlformats.org/officeDocument/2006/relationships/image" Target="../media/image25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slideLayout" Target="../slideLayouts/slideLayout9.xml"/><Relationship Id="rId38" Type="http://schemas.openxmlformats.org/officeDocument/2006/relationships/image" Target="../media/image16.png"/><Relationship Id="rId46" Type="http://schemas.openxmlformats.org/officeDocument/2006/relationships/image" Target="../media/image24.png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tags" Target="../tags/tag59.xml"/><Relationship Id="rId41" Type="http://schemas.openxmlformats.org/officeDocument/2006/relationships/image" Target="../media/image19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tags" Target="../tags/tag62.xml"/><Relationship Id="rId37" Type="http://schemas.openxmlformats.org/officeDocument/2006/relationships/image" Target="../media/image15.png"/><Relationship Id="rId40" Type="http://schemas.openxmlformats.org/officeDocument/2006/relationships/image" Target="../media/image18.png"/><Relationship Id="rId45" Type="http://schemas.openxmlformats.org/officeDocument/2006/relationships/image" Target="../media/image23.png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tags" Target="../tags/tag58.xml"/><Relationship Id="rId36" Type="http://schemas.openxmlformats.org/officeDocument/2006/relationships/image" Target="../media/image14.png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tags" Target="../tags/tag61.xml"/><Relationship Id="rId44" Type="http://schemas.openxmlformats.org/officeDocument/2006/relationships/image" Target="../media/image22.png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tags" Target="../tags/tag57.xml"/><Relationship Id="rId30" Type="http://schemas.openxmlformats.org/officeDocument/2006/relationships/tags" Target="../tags/tag60.xml"/><Relationship Id="rId35" Type="http://schemas.openxmlformats.org/officeDocument/2006/relationships/image" Target="../media/image13.png"/><Relationship Id="rId43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9" Type="http://schemas.openxmlformats.org/officeDocument/2006/relationships/image" Target="../media/image30.png"/><Relationship Id="rId3" Type="http://schemas.openxmlformats.org/officeDocument/2006/relationships/tags" Target="../tags/tag65.xml"/><Relationship Id="rId21" Type="http://schemas.openxmlformats.org/officeDocument/2006/relationships/tags" Target="../tags/tag83.xml"/><Relationship Id="rId34" Type="http://schemas.openxmlformats.org/officeDocument/2006/relationships/slideLayout" Target="../slideLayouts/slideLayout9.xml"/><Relationship Id="rId42" Type="http://schemas.openxmlformats.org/officeDocument/2006/relationships/image" Target="../media/image33.png"/><Relationship Id="rId47" Type="http://schemas.openxmlformats.org/officeDocument/2006/relationships/image" Target="../media/image38.png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tags" Target="../tags/tag95.xml"/><Relationship Id="rId38" Type="http://schemas.openxmlformats.org/officeDocument/2006/relationships/image" Target="../media/image29.png"/><Relationship Id="rId46" Type="http://schemas.openxmlformats.org/officeDocument/2006/relationships/image" Target="../media/image37.png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tags" Target="../tags/tag91.xml"/><Relationship Id="rId41" Type="http://schemas.openxmlformats.org/officeDocument/2006/relationships/image" Target="../media/image32.pn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tags" Target="../tags/tag94.xml"/><Relationship Id="rId37" Type="http://schemas.openxmlformats.org/officeDocument/2006/relationships/image" Target="../media/image28.png"/><Relationship Id="rId40" Type="http://schemas.openxmlformats.org/officeDocument/2006/relationships/image" Target="../media/image31.png"/><Relationship Id="rId45" Type="http://schemas.openxmlformats.org/officeDocument/2006/relationships/image" Target="../media/image36.png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36" Type="http://schemas.openxmlformats.org/officeDocument/2006/relationships/image" Target="../media/image27.png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31" Type="http://schemas.openxmlformats.org/officeDocument/2006/relationships/tags" Target="../tags/tag93.xml"/><Relationship Id="rId44" Type="http://schemas.openxmlformats.org/officeDocument/2006/relationships/image" Target="../media/image35.png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tags" Target="../tags/tag92.xml"/><Relationship Id="rId35" Type="http://schemas.openxmlformats.org/officeDocument/2006/relationships/image" Target="../media/image26.png"/><Relationship Id="rId43" Type="http://schemas.openxmlformats.org/officeDocument/2006/relationships/image" Target="../media/image34.png"/><Relationship Id="rId48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Souhrnné výsledky testů ze škol</a:t>
            </a:r>
          </a:p>
          <a:p>
            <a:r>
              <a:rPr lang="cs-CZ" sz="4000" i="1" dirty="0"/>
              <a:t>- Průběžné hlášení: 8. 6. 2021- </a:t>
            </a:r>
          </a:p>
        </p:txBody>
      </p:sp>
    </p:spTree>
    <p:extLst>
      <p:ext uri="{BB962C8B-B14F-4D97-AF65-F5344CB8AC3E}">
        <p14:creationId xmlns:p14="http://schemas.microsoft.com/office/powerpoint/2010/main" val="21682295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souhrnné hodnocení </a:t>
            </a: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423881"/>
              </p:ext>
            </p:extLst>
          </p:nvPr>
        </p:nvGraphicFramePr>
        <p:xfrm>
          <a:off x="263825" y="1187288"/>
          <a:ext cx="11657891" cy="5052185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510161">
                <a:tc row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effectLst/>
                        </a:rPr>
                        <a:t>Hodnocený týden </a:t>
                      </a: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Žáci*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aměstnanci 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5382023"/>
                  </a:ext>
                </a:extLst>
              </a:tr>
              <a:tr h="824200">
                <a:tc vMerge="1"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 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5590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1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– 2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5590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2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  <a:r>
                        <a:rPr lang="cs-CZ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– 9.5.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906264"/>
                  </a:ext>
                </a:extLst>
              </a:tr>
              <a:tr h="5590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3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36631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4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249894"/>
                  </a:ext>
                </a:extLst>
              </a:tr>
              <a:tr h="36631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5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 – 30.5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8433359"/>
                  </a:ext>
                </a:extLst>
              </a:tr>
              <a:tr h="5580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6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490130"/>
                  </a:ext>
                </a:extLst>
              </a:tr>
              <a:tr h="36631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247501"/>
                  </a:ext>
                </a:extLst>
              </a:tr>
            </a:tbl>
          </a:graphicData>
        </a:graphic>
      </p:graphicFrame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3825" y="747481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8. 6. 2021 18:00</a:t>
            </a:r>
            <a:endParaRPr lang="cs-CZ" sz="1400" i="1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E40EDBC-756B-45F8-84B9-3427EA067CA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7629" y="6412021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Výsledky všech testů v rámci testování ve školách bez ohledu na věk žáka.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09200" y="664068"/>
            <a:ext cx="6878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Podkladem pro tabulku jsou agregované výsledky testů hlášené přímo ze škol. </a:t>
            </a:r>
          </a:p>
          <a:p>
            <a:pPr algn="r"/>
            <a:r>
              <a:rPr lang="cs-CZ" sz="1400" i="1" dirty="0"/>
              <a:t>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7361467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Výsledky testů ze škol v relaci s celkovými populačními záchyty nemoci u dětí 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013923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14300" y="412883"/>
            <a:ext cx="1182052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Všechny pozitivně potvrzené případy jsou šetřeny epidemiology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 na KHS. Tato šetření umožňují odlišit děti pravděpodobně nakažené v souvislosti se školní docházkou. U dětí ve věku 5 – 11 let, které jsou ve škole nejdéle, prokázalo epidemické šetření KHS u 30</a:t>
            </a:r>
            <a:r>
              <a:rPr lang="cs-CZ" sz="2800" b="1" dirty="0">
                <a:cs typeface="Arial" panose="020B0604020202020204" pitchFamily="34" charset="0"/>
              </a:rPr>
              <a:t> % z celkem zachycených nákaz souvislost se školou. Dále tento podíl nákaz souvisejících se školou klesá k </a:t>
            </a:r>
            <a:r>
              <a:rPr lang="cs-CZ" sz="2800" b="1" dirty="0" smtClean="0">
                <a:cs typeface="Arial" panose="020B0604020202020204" pitchFamily="34" charset="0"/>
              </a:rPr>
              <a:t>20 </a:t>
            </a:r>
            <a:r>
              <a:rPr lang="cs-CZ" sz="2800" b="1" dirty="0">
                <a:cs typeface="Arial" panose="020B0604020202020204" pitchFamily="34" charset="0"/>
              </a:rPr>
              <a:t>% (věková kategorie 12 – 15 let) a k 3 % (věková kategorie 16 – 19 let)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48707" y="341329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258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solidFill>
                  <a:srgbClr val="000000"/>
                </a:solidFill>
                <a:latin typeface="Arial" panose="020B0604020202020204"/>
              </a:rPr>
              <a:t>(bez dělení na </a:t>
            </a:r>
            <a:r>
              <a:rPr lang="cs-CZ" sz="1600" i="1" dirty="0">
                <a:latin typeface="Arial" panose="020B0604020202020204"/>
              </a:rPr>
              <a:t>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7 966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2 935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ca </a:t>
            </a:r>
            <a:r>
              <a:rPr lang="cs-CZ" sz="2200" b="1" dirty="0">
                <a:latin typeface="Arial" panose="020B0604020202020204"/>
              </a:rPr>
              <a:t>37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* 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515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546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8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</a:t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b="1" dirty="0">
                <a:solidFill>
                  <a:srgbClr val="FFFFFF"/>
                </a:solidFill>
                <a:latin typeface="Arial" panose="020B0604020202020204" pitchFamily="34" charset="0"/>
              </a:rPr>
              <a:t>10 923 </a:t>
            </a:r>
            <a:r>
              <a:rPr lang="cs-CZ" sz="2000" dirty="0">
                <a:solidFill>
                  <a:schemeClr val="bg1"/>
                </a:solidFill>
              </a:rPr>
              <a:t>nákaz u dětí </a:t>
            </a:r>
          </a:p>
          <a:p>
            <a:r>
              <a:rPr lang="cs-CZ" sz="2000" dirty="0">
                <a:solidFill>
                  <a:schemeClr val="bg1"/>
                </a:solidFill>
              </a:rPr>
              <a:t>(5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Testy provedené přímo ve školách potvrdily </a:t>
            </a:r>
          </a:p>
          <a:p>
            <a:r>
              <a:rPr lang="cs-CZ" sz="2200" b="1" dirty="0"/>
              <a:t>2 935 </a:t>
            </a:r>
            <a:r>
              <a:rPr lang="cs-CZ" sz="2200" dirty="0"/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Epidemická šetření všech záznamů v </a:t>
            </a:r>
            <a:r>
              <a:rPr lang="cs-CZ" sz="2200" b="1" dirty="0"/>
              <a:t>ISIN</a:t>
            </a:r>
            <a:r>
              <a:rPr lang="cs-CZ" sz="2200" dirty="0"/>
              <a:t> prokázala </a:t>
            </a:r>
          </a:p>
          <a:p>
            <a:r>
              <a:rPr lang="cs-CZ" sz="2200" b="1" dirty="0"/>
              <a:t>2 851 </a:t>
            </a:r>
            <a:r>
              <a:rPr lang="cs-CZ" sz="2200" dirty="0"/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Šipka doprava 21"/>
          <p:cNvSpPr/>
          <p:nvPr/>
        </p:nvSpPr>
        <p:spPr>
          <a:xfrm rot="5400000">
            <a:off x="1581204" y="394704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/>
        </p:nvSpPr>
        <p:spPr>
          <a:xfrm>
            <a:off x="3746873" y="268960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esty ve školách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esty ve školách </a:t>
            </a:r>
          </a:p>
        </p:txBody>
      </p:sp>
    </p:spTree>
    <p:extLst>
      <p:ext uri="{BB962C8B-B14F-4D97-AF65-F5344CB8AC3E}">
        <p14:creationId xmlns:p14="http://schemas.microsoft.com/office/powerpoint/2010/main" val="13370632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Populační záchyty nákazy u dětí různých věkových kategorií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latin typeface="Arial" panose="020B0604020202020204"/>
              </a:rPr>
              <a:t>(bez dělení na 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10" name="TextovéPole 9"/>
          <p:cNvSpPr txBox="1"/>
          <p:nvPr>
            <p:custDataLst>
              <p:tags r:id="rId3"/>
            </p:custDataLst>
          </p:nvPr>
        </p:nvSpPr>
        <p:spPr>
          <a:xfrm>
            <a:off x="224157" y="1009108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5 – 11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8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5"/>
            </p:custDataLst>
          </p:nvPr>
        </p:nvSpPr>
        <p:spPr>
          <a:xfrm>
            <a:off x="292231" y="1543834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6 805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5 – 11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7" name="TextovéPole 16"/>
          <p:cNvSpPr txBox="1"/>
          <p:nvPr>
            <p:custDataLst>
              <p:tags r:id="rId6"/>
            </p:custDataLst>
          </p:nvPr>
        </p:nvSpPr>
        <p:spPr>
          <a:xfrm>
            <a:off x="5289543" y="1402633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2 040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0 % celku)</a:t>
            </a:r>
          </a:p>
        </p:txBody>
      </p:sp>
      <p:sp>
        <p:nvSpPr>
          <p:cNvPr id="23" name="Šipka doprava 22"/>
          <p:cNvSpPr/>
          <p:nvPr/>
        </p:nvSpPr>
        <p:spPr>
          <a:xfrm>
            <a:off x="4794623" y="171243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7" name="TextovéPole 26"/>
          <p:cNvSpPr txBox="1"/>
          <p:nvPr>
            <p:custDataLst>
              <p:tags r:id="rId7"/>
            </p:custDataLst>
          </p:nvPr>
        </p:nvSpPr>
        <p:spPr>
          <a:xfrm>
            <a:off x="224157" y="2725899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2 – 15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/>
          <p:cNvSpPr txBox="1"/>
          <p:nvPr>
            <p:custDataLst>
              <p:tags r:id="rId8"/>
            </p:custDataLst>
          </p:nvPr>
        </p:nvSpPr>
        <p:spPr>
          <a:xfrm>
            <a:off x="292231" y="3308250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pt-BR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  <a:r>
              <a:rPr lang="cs-CZ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 118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2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9" name="TextovéPole 28"/>
          <p:cNvSpPr txBox="1"/>
          <p:nvPr>
            <p:custDataLst>
              <p:tags r:id="rId9"/>
            </p:custDataLst>
          </p:nvPr>
        </p:nvSpPr>
        <p:spPr>
          <a:xfrm>
            <a:off x="5289543" y="3149720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811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20 % celku)</a:t>
            </a:r>
          </a:p>
        </p:txBody>
      </p:sp>
      <p:sp>
        <p:nvSpPr>
          <p:cNvPr id="30" name="Šipka doprava 29"/>
          <p:cNvSpPr/>
          <p:nvPr/>
        </p:nvSpPr>
        <p:spPr>
          <a:xfrm>
            <a:off x="4794623" y="345951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TextovéPole 30"/>
          <p:cNvSpPr txBox="1"/>
          <p:nvPr>
            <p:custDataLst>
              <p:tags r:id="rId10"/>
            </p:custDataLst>
          </p:nvPr>
        </p:nvSpPr>
        <p:spPr>
          <a:xfrm>
            <a:off x="224157" y="4518452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6 – 19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/>
          <p:cNvSpPr txBox="1"/>
          <p:nvPr>
            <p:custDataLst>
              <p:tags r:id="rId11"/>
            </p:custDataLst>
          </p:nvPr>
        </p:nvSpPr>
        <p:spPr>
          <a:xfrm>
            <a:off x="292231" y="5081753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3 394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6 – 19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3" name="TextovéPole 32"/>
          <p:cNvSpPr txBox="1"/>
          <p:nvPr>
            <p:custDataLst>
              <p:tags r:id="rId12"/>
            </p:custDataLst>
          </p:nvPr>
        </p:nvSpPr>
        <p:spPr>
          <a:xfrm>
            <a:off x="5289543" y="4913698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113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 % celku)</a:t>
            </a:r>
          </a:p>
        </p:txBody>
      </p:sp>
      <p:sp>
        <p:nvSpPr>
          <p:cNvPr id="34" name="Šipka doprava 33"/>
          <p:cNvSpPr/>
          <p:nvPr/>
        </p:nvSpPr>
        <p:spPr>
          <a:xfrm>
            <a:off x="4794623" y="5204446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>
            <p:custDataLst>
              <p:tags r:id="rId13"/>
            </p:custDataLst>
          </p:nvPr>
        </p:nvSpPr>
        <p:spPr>
          <a:xfrm>
            <a:off x="9505950" y="2357659"/>
            <a:ext cx="2581275" cy="310854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Průběžně hodnocená data</a:t>
            </a:r>
          </a:p>
          <a:p>
            <a:r>
              <a:rPr lang="cs-CZ" sz="1400" dirty="0"/>
              <a:t>o nákazách žáků ukazují </a:t>
            </a:r>
          </a:p>
          <a:p>
            <a:r>
              <a:rPr lang="cs-CZ" sz="1400" dirty="0"/>
              <a:t>na logický gradient v podílu nákaz souvisejících se školou (výsledky epidemických šetření KHS). </a:t>
            </a:r>
          </a:p>
          <a:p>
            <a:r>
              <a:rPr lang="cs-CZ" sz="1400" dirty="0"/>
              <a:t>Věková kategorie, která je nejdéle ve škole (5 – 11 let) vykazuje 30 % z celkem zachycených nákaz (po 12.4.) jako souvisejících se školou, dále tento podíl klesá k 20 % (třída 12 – 15 let) a k 3 % (16 – 19 let). </a:t>
            </a:r>
          </a:p>
        </p:txBody>
      </p:sp>
    </p:spTree>
    <p:extLst>
      <p:ext uri="{BB962C8B-B14F-4D97-AF65-F5344CB8AC3E}">
        <p14:creationId xmlns:p14="http://schemas.microsoft.com/office/powerpoint/2010/main" val="25197795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5 let</a:t>
            </a:r>
            <a:r>
              <a:rPr lang="cs-CZ" dirty="0"/>
              <a:t> mezi 12.4 – 7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721570"/>
              </p:ext>
            </p:extLst>
          </p:nvPr>
        </p:nvGraphicFramePr>
        <p:xfrm>
          <a:off x="700436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 923 nově pozitivníc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0 422 (95,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3 472 (31,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6 950 (63,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501 (4,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284 (2,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17 (2,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202907"/>
            <a:ext cx="56509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7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95079299"/>
              </p:ext>
            </p:extLst>
          </p:nvPr>
        </p:nvGraphicFramePr>
        <p:xfrm>
          <a:off x="6751384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851 nově pozitivníc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788 (97,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880 (30,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 908 (66,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63 (2,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32 (1,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31 (1,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5819" y="1202907"/>
            <a:ext cx="56541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7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586887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918963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918963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918963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918963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586887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99865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99865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918963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99865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99865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918963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586887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329899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4383553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</a:t>
            </a:r>
            <a:r>
              <a:rPr lang="en-US" u="sng" dirty="0"/>
              <a:t>1</a:t>
            </a:r>
            <a:r>
              <a:rPr lang="cs-CZ" u="sng" dirty="0"/>
              <a:t> let</a:t>
            </a:r>
            <a:r>
              <a:rPr lang="cs-CZ" dirty="0"/>
              <a:t> mezi 12.4 – 7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987007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 805 nově pozitivníc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 530 (96,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 106 (30,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4 424 (65,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75 (4,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51 (2,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24 (1,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6509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 7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71172736"/>
              </p:ext>
            </p:extLst>
          </p:nvPr>
        </p:nvGraphicFramePr>
        <p:xfrm>
          <a:off x="6656134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040 nově pozitivníc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002 (98,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626 (30,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 376 (67,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38 (1,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6 (0,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2 (1,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00569" y="1155282"/>
            <a:ext cx="56541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 7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491637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823713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823713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823713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823713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491637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04615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04615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823713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04615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04615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823713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491637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19196964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cs-CZ" u="sng" dirty="0"/>
              <a:t>12-15 let</a:t>
            </a:r>
            <a:r>
              <a:rPr lang="cs-CZ" dirty="0"/>
              <a:t> mezi 12.4 – 7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759107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118 nově pozitivníc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3 892 (94,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 366 (33,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 526 (61,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26 (5,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33 (3,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93 (2,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6509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7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graphicFrame>
        <p:nvGraphicFramePr>
          <p:cNvPr id="35" name="Table 39">
            <a:extLst>
              <a:ext uri="{FF2B5EF4-FFF2-40B4-BE49-F238E27FC236}">
                <a16:creationId xmlns:a16="http://schemas.microsoft.com/office/drawing/2014/main" id="{ECF8D81E-48FD-47AC-95EA-897CD0D322D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5940493"/>
              </p:ext>
            </p:extLst>
          </p:nvPr>
        </p:nvGraphicFramePr>
        <p:xfrm>
          <a:off x="6684709" y="2009735"/>
          <a:ext cx="5500086" cy="4432769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811 nově pozitivníc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86 (96,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6253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54 (31,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532 (65,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5 (3,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6 (2,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9 (1,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cxnSp>
        <p:nvCxnSpPr>
          <p:cNvPr id="36" name="Connector: Elbow 41">
            <a:extLst>
              <a:ext uri="{FF2B5EF4-FFF2-40B4-BE49-F238E27FC236}">
                <a16:creationId xmlns:a16="http://schemas.microsoft.com/office/drawing/2014/main" id="{A857519A-CA40-411D-980E-698A4B9412F3}"/>
              </a:ext>
            </a:extLst>
          </p:cNvPr>
          <p:cNvCxnSpPr>
            <a:cxnSpLocks/>
            <a:stCxn id="56" idx="2"/>
            <a:endCxn id="59" idx="2"/>
          </p:cNvCxnSpPr>
          <p:nvPr/>
        </p:nvCxnSpPr>
        <p:spPr>
          <a:xfrm rot="10800000" flipH="1" flipV="1">
            <a:off x="6520212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42">
            <a:extLst>
              <a:ext uri="{FF2B5EF4-FFF2-40B4-BE49-F238E27FC236}">
                <a16:creationId xmlns:a16="http://schemas.microsoft.com/office/drawing/2014/main" id="{11C712BA-6083-45F2-BAC7-D646EB9DCE80}"/>
              </a:ext>
            </a:extLst>
          </p:cNvPr>
          <p:cNvCxnSpPr>
            <a:cxnSpLocks/>
            <a:stCxn id="62" idx="2"/>
            <a:endCxn id="57" idx="2"/>
          </p:cNvCxnSpPr>
          <p:nvPr/>
        </p:nvCxnSpPr>
        <p:spPr>
          <a:xfrm rot="10800000" flipH="1" flipV="1">
            <a:off x="6852288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43">
            <a:extLst>
              <a:ext uri="{FF2B5EF4-FFF2-40B4-BE49-F238E27FC236}">
                <a16:creationId xmlns:a16="http://schemas.microsoft.com/office/drawing/2014/main" id="{244AF209-2F82-4B3B-8771-D86CB9D0AA7C}"/>
              </a:ext>
            </a:extLst>
          </p:cNvPr>
          <p:cNvCxnSpPr>
            <a:cxnSpLocks/>
            <a:stCxn id="62" idx="2"/>
            <a:endCxn id="58" idx="2"/>
          </p:cNvCxnSpPr>
          <p:nvPr/>
        </p:nvCxnSpPr>
        <p:spPr>
          <a:xfrm rot="10800000" flipH="1" flipV="1">
            <a:off x="6852288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44">
            <a:extLst>
              <a:ext uri="{FF2B5EF4-FFF2-40B4-BE49-F238E27FC236}">
                <a16:creationId xmlns:a16="http://schemas.microsoft.com/office/drawing/2014/main" id="{69C42B24-0189-4D75-B374-7EFD2DAAED66}"/>
              </a:ext>
            </a:extLst>
          </p:cNvPr>
          <p:cNvCxnSpPr>
            <a:cxnSpLocks/>
            <a:stCxn id="59" idx="2"/>
            <a:endCxn id="60" idx="2"/>
          </p:cNvCxnSpPr>
          <p:nvPr/>
        </p:nvCxnSpPr>
        <p:spPr>
          <a:xfrm rot="10800000" flipH="1" flipV="1">
            <a:off x="6852288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45">
            <a:extLst>
              <a:ext uri="{FF2B5EF4-FFF2-40B4-BE49-F238E27FC236}">
                <a16:creationId xmlns:a16="http://schemas.microsoft.com/office/drawing/2014/main" id="{7A50D906-639B-4F20-895A-E56E8A2F8918}"/>
              </a:ext>
            </a:extLst>
          </p:cNvPr>
          <p:cNvCxnSpPr>
            <a:cxnSpLocks/>
            <a:stCxn id="59" idx="2"/>
            <a:endCxn id="61" idx="2"/>
          </p:cNvCxnSpPr>
          <p:nvPr/>
        </p:nvCxnSpPr>
        <p:spPr>
          <a:xfrm rot="10800000" flipH="1" flipV="1">
            <a:off x="6852288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46">
            <a:extLst>
              <a:ext uri="{FF2B5EF4-FFF2-40B4-BE49-F238E27FC236}">
                <a16:creationId xmlns:a16="http://schemas.microsoft.com/office/drawing/2014/main" id="{2E8EBDA0-CEA2-4C7B-857F-599F39037B81}"/>
              </a:ext>
            </a:extLst>
          </p:cNvPr>
          <p:cNvSpPr/>
          <p:nvPr/>
        </p:nvSpPr>
        <p:spPr>
          <a:xfrm>
            <a:off x="6520212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Oval 47">
            <a:extLst>
              <a:ext uri="{FF2B5EF4-FFF2-40B4-BE49-F238E27FC236}">
                <a16:creationId xmlns:a16="http://schemas.microsoft.com/office/drawing/2014/main" id="{E8A199F8-C841-4529-BA30-699B96B16DED}"/>
              </a:ext>
            </a:extLst>
          </p:cNvPr>
          <p:cNvSpPr/>
          <p:nvPr/>
        </p:nvSpPr>
        <p:spPr>
          <a:xfrm>
            <a:off x="7333190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48">
            <a:extLst>
              <a:ext uri="{FF2B5EF4-FFF2-40B4-BE49-F238E27FC236}">
                <a16:creationId xmlns:a16="http://schemas.microsoft.com/office/drawing/2014/main" id="{2BEC8467-23A1-4CFC-BFCE-1383ECB0A7BD}"/>
              </a:ext>
            </a:extLst>
          </p:cNvPr>
          <p:cNvSpPr/>
          <p:nvPr/>
        </p:nvSpPr>
        <p:spPr>
          <a:xfrm>
            <a:off x="7333190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Oval 49">
            <a:extLst>
              <a:ext uri="{FF2B5EF4-FFF2-40B4-BE49-F238E27FC236}">
                <a16:creationId xmlns:a16="http://schemas.microsoft.com/office/drawing/2014/main" id="{6F449461-D626-4F4A-A5B9-452A8D2903AA}"/>
              </a:ext>
            </a:extLst>
          </p:cNvPr>
          <p:cNvSpPr/>
          <p:nvPr/>
        </p:nvSpPr>
        <p:spPr>
          <a:xfrm>
            <a:off x="6852288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Oval 50">
            <a:extLst>
              <a:ext uri="{FF2B5EF4-FFF2-40B4-BE49-F238E27FC236}">
                <a16:creationId xmlns:a16="http://schemas.microsoft.com/office/drawing/2014/main" id="{9728F3B6-94A4-47B6-8C2C-B3F52397DF90}"/>
              </a:ext>
            </a:extLst>
          </p:cNvPr>
          <p:cNvSpPr/>
          <p:nvPr/>
        </p:nvSpPr>
        <p:spPr>
          <a:xfrm>
            <a:off x="7333190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Oval 51">
            <a:extLst>
              <a:ext uri="{FF2B5EF4-FFF2-40B4-BE49-F238E27FC236}">
                <a16:creationId xmlns:a16="http://schemas.microsoft.com/office/drawing/2014/main" id="{CECD612A-9766-4A55-86EA-8C4A1F50DA1C}"/>
              </a:ext>
            </a:extLst>
          </p:cNvPr>
          <p:cNvSpPr/>
          <p:nvPr/>
        </p:nvSpPr>
        <p:spPr>
          <a:xfrm>
            <a:off x="7333190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Oval 52">
            <a:extLst>
              <a:ext uri="{FF2B5EF4-FFF2-40B4-BE49-F238E27FC236}">
                <a16:creationId xmlns:a16="http://schemas.microsoft.com/office/drawing/2014/main" id="{6E05142A-6F83-425E-96C8-385291A504C2}"/>
              </a:ext>
            </a:extLst>
          </p:cNvPr>
          <p:cNvSpPr/>
          <p:nvPr/>
        </p:nvSpPr>
        <p:spPr>
          <a:xfrm>
            <a:off x="6852288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3" name="Connector: Elbow 53">
            <a:extLst>
              <a:ext uri="{FF2B5EF4-FFF2-40B4-BE49-F238E27FC236}">
                <a16:creationId xmlns:a16="http://schemas.microsoft.com/office/drawing/2014/main" id="{58161BC0-4A37-4A9D-9532-DCC329AE9465}"/>
              </a:ext>
            </a:extLst>
          </p:cNvPr>
          <p:cNvCxnSpPr>
            <a:cxnSpLocks/>
            <a:stCxn id="56" idx="2"/>
            <a:endCxn id="62" idx="2"/>
          </p:cNvCxnSpPr>
          <p:nvPr/>
        </p:nvCxnSpPr>
        <p:spPr>
          <a:xfrm rot="10800000" flipH="1" flipV="1">
            <a:off x="6520212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40">
            <a:extLst>
              <a:ext uri="{FF2B5EF4-FFF2-40B4-BE49-F238E27FC236}">
                <a16:creationId xmlns:a16="http://schemas.microsoft.com/office/drawing/2014/main" id="{ED35EB35-A2D4-47EB-B714-BB760F562F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129144" y="1155282"/>
            <a:ext cx="56541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7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38968868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Celkové počty nově potvrzených případů </a:t>
            </a:r>
          </a:p>
          <a:p>
            <a:r>
              <a:rPr lang="cs-CZ" sz="4000" b="1" dirty="0"/>
              <a:t>dětí v populaci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32456629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642606"/>
              </p:ext>
            </p:ext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781030" y="1581538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770221" y="1985257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386853" y="2523596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</a:t>
            </a:r>
            <a:r>
              <a:rPr kumimoji="0" lang="cs-CZ" sz="1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Š v rotačním režimu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H="1">
            <a:off x="6533828" y="3213907"/>
            <a:ext cx="2758" cy="10957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932892" y="155949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200" b="1" i="1" dirty="0">
                <a:solidFill>
                  <a:srgbClr val="000000"/>
                </a:solidFill>
              </a:rPr>
              <a:t>26. 4. MŠ otevřeny zcela, SŠ a VOŠ praktické vyučování v PLK, HKK, KVK </a:t>
            </a:r>
            <a:br>
              <a:rPr lang="cs-CZ" sz="1200" b="1" i="1" dirty="0">
                <a:solidFill>
                  <a:srgbClr val="000000"/>
                </a:solidFill>
              </a:rPr>
            </a:br>
            <a:r>
              <a:rPr lang="cs-CZ" sz="1200" b="1" i="1" dirty="0">
                <a:solidFill>
                  <a:srgbClr val="000000"/>
                </a:solidFill>
              </a:rPr>
              <a:t>od 3. 5. dále STC, LBK, PAK, PHA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 s rozšířením rotační výuky 2. st. ZŠ a od 10. 5. ve zbývajících krajích</a:t>
            </a:r>
            <a:endParaRPr lang="cs-CZ" sz="1200" b="1" i="1" dirty="0">
              <a:solidFill>
                <a:srgbClr val="000000"/>
              </a:solidFill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745381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033046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558974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00558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92454D-DD98-4298-B7F5-F6E7FDB992A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8577"/>
            <a:ext cx="11686436" cy="576000"/>
          </a:xfrm>
        </p:spPr>
        <p:txBody>
          <a:bodyPr/>
          <a:lstStyle/>
          <a:p>
            <a:pPr algn="ctr"/>
            <a:r>
              <a:rPr lang="cs-CZ" sz="2400" dirty="0"/>
              <a:t>Harmonogram otevírání školských zařízení v krajích ČR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B917A4C-0A6E-4A20-B4B4-7BEC1A524DC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23843" y="837488"/>
          <a:ext cx="10263501" cy="5435344"/>
        </p:xfrm>
        <a:graphic>
          <a:graphicData uri="http://schemas.openxmlformats.org/drawingml/2006/table">
            <a:tbl>
              <a:tblPr/>
              <a:tblGrid>
                <a:gridCol w="1557713">
                  <a:extLst>
                    <a:ext uri="{9D8B030D-6E8A-4147-A177-3AD203B41FA5}">
                      <a16:colId xmlns:a16="http://schemas.microsoft.com/office/drawing/2014/main" val="121576139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1935044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652802359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22872413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5015731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711309026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41985561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3161230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4501224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83752418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265492353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285019563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08247929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78618505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676138909"/>
                    </a:ext>
                  </a:extLst>
                </a:gridCol>
              </a:tblGrid>
              <a:tr h="588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atum změny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HA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291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- předškolní děti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5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bez roušek a testování dětí (pouze zaměstnanci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- 1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rotačně, 2x týdně testy a roušky 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744067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3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9435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3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, ZŠ - 2.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1-15 let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č. niž. st.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)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tačně, test 2x týdně (1. st. 1x týdně),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0514397"/>
                  </a:ext>
                </a:extLst>
              </a:tr>
              <a:tr h="785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MŠ zcela, ZŠ - 2. stupeň (vč. niž.st. gymnázií) rotačně, test 2x týdně (1. st. 1x týdně), 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tevření škol ve zbývajících krajích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le režimu z 3. 5. 2021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9456110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(</a:t>
                      </a:r>
                      <a:r>
                        <a:rPr lang="pl-PL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5 let</a:t>
                      </a:r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zcela a bez rotací (test 1x týdně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rotací 1. stupeň ZŠ (2. st. 2x týdně test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123525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stupeň ZŠ bez rotací v celé ČR (test 1x týdně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oretická výuka bez rotací (test 1x týdně) na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2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a V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5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7919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7421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Graf 16">
            <a:extLst>
              <a:ext uri="{FF2B5EF4-FFF2-40B4-BE49-F238E27FC236}">
                <a16:creationId xmlns:a16="http://schemas.microsoft.com/office/drawing/2014/main" id="{82435891-AD00-4FB1-A73A-2B68645AA38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9836727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1" name="Graf 16">
            <a:extLst>
              <a:ext uri="{FF2B5EF4-FFF2-40B4-BE49-F238E27FC236}">
                <a16:creationId xmlns:a16="http://schemas.microsoft.com/office/drawing/2014/main" id="{7266C885-8B68-464B-99FA-0474E08AA17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4630958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testů na 100 tis. dětí v čase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-35890" y="160091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23286742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18793655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48221829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02286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7A93131A-8E01-44B7-A2A2-A1EFEC4360B8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913856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839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2487157-9490-45CB-A4BF-887D09526716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992129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58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8AD0D1D-DDE7-45FA-A69D-268EA000744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414538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 983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191FCF-0AC0-4145-960F-283F6CCEFCEF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876412" y="2513080"/>
            <a:ext cx="81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9 351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685E3DA0-21F5-4650-971E-957CCD67CF9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876413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4 997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A804B45-F645-487E-B6EF-5C2CC8EDA31D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334250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1 730</a:t>
            </a:r>
          </a:p>
        </p:txBody>
      </p:sp>
    </p:spTree>
    <p:extLst>
      <p:ext uri="{BB962C8B-B14F-4D97-AF65-F5344CB8AC3E}">
        <p14:creationId xmlns:p14="http://schemas.microsoft.com/office/powerpoint/2010/main" val="2538002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2387997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10526265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69092770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4646660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54991812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27154542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614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839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639704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58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062113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 983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374358" y="2513080"/>
            <a:ext cx="8409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9 351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399293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4 997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890382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1 730</a:t>
            </a:r>
          </a:p>
        </p:txBody>
      </p:sp>
    </p:spTree>
    <p:extLst>
      <p:ext uri="{BB962C8B-B14F-4D97-AF65-F5344CB8AC3E}">
        <p14:creationId xmlns:p14="http://schemas.microsoft.com/office/powerpoint/2010/main" val="31149241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3672821"/>
            <a:ext cx="8050306" cy="3325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826656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8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0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4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30687181"/>
              </p:ext>
            </p:extLst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48701E7-F1B4-4F9C-8212-C3B87420926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1C140140-1983-45CC-A10B-066345AEDC3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7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402AE3F-0527-47EC-A054-0F2CB5E32C7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920617" y="1727136"/>
            <a:ext cx="305230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et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ě nakažených dětí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ěku 0 – 4 let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sá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šech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jích. 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ují kraje Jihočeský a Liberecký.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40253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5986" y="4014337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931478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8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54487852"/>
              </p:ext>
            </p:extLst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.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C3199B8A-F6F3-4DFE-BF90-70294CC448AA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549748" y="2073328"/>
            <a:ext cx="327077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et nově nakažených dětí ve věku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let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sá ve všech krajích. </a:t>
            </a:r>
          </a:p>
          <a:p>
            <a:pPr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především kraj Moravskoslezský, Zlínský a Liberecký.</a:t>
            </a:r>
          </a:p>
          <a:p>
            <a:pPr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78419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556" y="4034343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6866678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8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88833325"/>
              </p:ext>
            </p:ext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7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589806" y="1949794"/>
            <a:ext cx="342759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et nově nakažených dětí ve </a:t>
            </a:r>
            <a:r>
              <a:rPr lang="cs-CZ" sz="2000" b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ěku </a:t>
            </a:r>
            <a:r>
              <a:rPr lang="cs-CZ" sz="2000" b="1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</a:t>
            </a:r>
            <a:r>
              <a:rPr lang="cs-CZ" sz="2000" b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2000" b="1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 klesá ve všech krajích. </a:t>
            </a: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především kraj Plzeňský a Jihočeský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6878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umulativní počet testů provedených přímo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311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7. 6. 2021 18:00 -&gt; celkový přehled bez dělení dle věkových skupin žáků</a:t>
            </a:r>
            <a:endParaRPr lang="cs-CZ" sz="1400" i="1" dirty="0"/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4675456"/>
              </p:ext>
            </p:extLst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>
                  <a:solidFill>
                    <a:srgbClr val="000000"/>
                  </a:solidFill>
                </a:rPr>
                <a:t>Žáci</a:t>
              </a:r>
              <a:endParaRPr lang="cs-CZ" sz="1400" i="1" dirty="0"/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/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44159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117608"/>
            <a:ext cx="11953875" cy="6099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Testy</a:t>
            </a:r>
            <a:r>
              <a:rPr kumimoji="0" lang="cs-CZ" sz="28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prováděné přímo ve školách jsou školami </a:t>
            </a:r>
            <a:r>
              <a:rPr kumimoji="0" lang="cs-CZ" sz="28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agregovaně</a:t>
            </a:r>
            <a:r>
              <a:rPr kumimoji="0" lang="cs-CZ" sz="28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  <a:endParaRPr kumimoji="0" lang="cs-CZ" sz="2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 průběžných dat vyplývá,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že testy prováděné ve školách neindikují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zikový 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ývoj či kontinuální eskalaci v šíření epidemie. Hodnoty v jednotlivých krajích různě v čase fluktuují, ale kontinuálně nerostou. </a:t>
            </a:r>
            <a:endParaRPr kumimoji="0" lang="cs-CZ" sz="2800" b="1" i="0" u="none" strike="noStrike" kern="1200" cap="none" spc="0" normalizeH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V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ýdnu od 17.5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o 23.5. 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ošlo k nárůstu relativního počtu nákaz u žáků ve více krajích. </a:t>
            </a:r>
            <a:r>
              <a:rPr lang="cs-CZ" sz="2800" b="1" noProof="0" dirty="0">
                <a:solidFill>
                  <a:prstClr val="black"/>
                </a:solidFill>
                <a:latin typeface="Calibri" panose="020F0502020204030204"/>
              </a:rPr>
              <a:t>T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to změna může souviset s návratem dalších ročníků do škol po 17.5., a tedy může jít o „</a:t>
            </a:r>
            <a:r>
              <a:rPr kumimoji="0" lang="cs-CZ" sz="2800" b="1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harvesting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“ nákaz zjištěných u nových kohort studentů vracejících se do škol. Nárůst se v žádném z regionů významně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evymykal 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louhodobému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ůměru</a:t>
            </a:r>
            <a:r>
              <a:rPr lang="cs-CZ" sz="28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cs-CZ" sz="2800" b="1" dirty="0" smtClean="0">
                <a:solidFill>
                  <a:prstClr val="black"/>
                </a:solidFill>
                <a:latin typeface="Calibri" panose="020F0502020204030204"/>
              </a:rPr>
              <a:t>a v následném období klesnul.</a:t>
            </a:r>
            <a:endParaRPr kumimoji="0" lang="cs-CZ" sz="2800" b="1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55201" y="123437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5200" y="622875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6601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7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269493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35196" y="1893272"/>
            <a:ext cx="1475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žáci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23363461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848827" y="1902635"/>
            <a:ext cx="23182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zaměstnanci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8. 6. 2021 18:00</a:t>
            </a:r>
            <a:endParaRPr lang="cs-CZ" sz="1400" i="1" dirty="0"/>
          </a:p>
        </p:txBody>
      </p:sp>
      <p:sp>
        <p:nvSpPr>
          <p:cNvPr id="2" name="Obdélník 1"/>
          <p:cNvSpPr/>
          <p:nvPr/>
        </p:nvSpPr>
        <p:spPr>
          <a:xfrm>
            <a:off x="1243240" y="1031009"/>
            <a:ext cx="107773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Celkové absolutní počty pozitivních záchy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34314" y="1639506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646254" y="1639506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9659569" y="5630645"/>
            <a:ext cx="265697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7261198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7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189748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6924" y="1893272"/>
            <a:ext cx="3381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žáků na 100 tis. testů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72087242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4039" y="1902635"/>
            <a:ext cx="3587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učitelů na 100 tis. testů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8. 6. 2021 18:00</a:t>
            </a:r>
            <a:endParaRPr lang="cs-CZ" sz="1400" i="1" dirty="0"/>
          </a:p>
        </p:txBody>
      </p:sp>
      <p:sp>
        <p:nvSpPr>
          <p:cNvPr id="2" name="Obdélník 1"/>
          <p:cNvSpPr/>
          <p:nvPr>
            <p:custDataLst>
              <p:tags r:id="rId7"/>
            </p:custDataLst>
          </p:nvPr>
        </p:nvSpPr>
        <p:spPr>
          <a:xfrm>
            <a:off x="1173083" y="1058739"/>
            <a:ext cx="106747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Počty pozitivních záchytů na 100 tisíc tes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08998" y="1687128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398604" y="1687128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10007960" y="541520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1931306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dle krajů (přepočet na 100tis. testů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DEE0DB2-2682-4D37-A37F-9BFB1E10B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6780"/>
              </p:ext>
            </p:extLst>
          </p:nvPr>
        </p:nvGraphicFramePr>
        <p:xfrm>
          <a:off x="164994" y="615452"/>
          <a:ext cx="11584511" cy="60019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90235">
                  <a:extLst>
                    <a:ext uri="{9D8B030D-6E8A-4147-A177-3AD203B41FA5}">
                      <a16:colId xmlns:a16="http://schemas.microsoft.com/office/drawing/2014/main" val="1875920252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692636823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2273268959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385100031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152331077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1217694765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1808379932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011977694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177548622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163920331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1182237422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2402046036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2275635768"/>
                    </a:ext>
                  </a:extLst>
                </a:gridCol>
              </a:tblGrid>
              <a:tr h="425128">
                <a:tc>
                  <a:txBody>
                    <a:bodyPr/>
                    <a:lstStyle/>
                    <a:p>
                      <a:pPr algn="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Počet pozitivních žáků na 100 000 testů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Počet pozitivních zaměstnanců na 100 000 testů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079627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1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2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3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2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3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005095"/>
                  </a:ext>
                </a:extLst>
              </a:tr>
              <a:tr h="425128">
                <a:tc>
                  <a:txBody>
                    <a:bodyPr/>
                    <a:lstStyle/>
                    <a:p>
                      <a:pPr algn="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26.4. – 2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3.5. – 9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26.4. – 2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3.5. – 9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432302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Hlavní město Prah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1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4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0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4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498492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Středoče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8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8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137651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Jihoče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2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153328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Plzeň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8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8337266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>
                          <a:effectLst/>
                          <a:latin typeface="+mj-lt"/>
                        </a:rPr>
                        <a:t>Karlovarský kraj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8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7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337246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Úste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8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8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8249927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Libere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5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5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200003"/>
                  </a:ext>
                </a:extLst>
              </a:tr>
              <a:tr h="42512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Královéhrade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5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8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9770394"/>
                  </a:ext>
                </a:extLst>
              </a:tr>
              <a:tr h="312404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Pardubi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4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,6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9861970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Kraj Vysočin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6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3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073110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Jihomorav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5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7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920904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Olomou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8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8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3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8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8380585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Zlín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6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5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,2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0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5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7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,1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650184"/>
                  </a:ext>
                </a:extLst>
              </a:tr>
              <a:tr h="42512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Moravskoslez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1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1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1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3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3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4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47631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6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8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0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6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990863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9C1FABC3-68C3-430D-8101-D384F9E55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6419" y="6584345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* Přímé výsledky všech testů v rámci testování ve školách bez ohledu na věk žáka (testy hlášené </a:t>
            </a:r>
            <a:r>
              <a:rPr lang="cs-CZ" sz="1400" i="1" dirty="0" err="1"/>
              <a:t>agregovaně</a:t>
            </a:r>
            <a:r>
              <a:rPr lang="cs-CZ" sz="1400" i="1" dirty="0"/>
              <a:t>, bez verifikace)</a:t>
            </a:r>
          </a:p>
        </p:txBody>
      </p:sp>
    </p:spTree>
    <p:extLst>
      <p:ext uri="{BB962C8B-B14F-4D97-AF65-F5344CB8AC3E}">
        <p14:creationId xmlns:p14="http://schemas.microsoft.com/office/powerpoint/2010/main" val="1711702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675" y="19052"/>
            <a:ext cx="12125325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ŽÁ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3740D1DD-A50D-45F9-9BE1-0C9327F0DE5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62121" y="13579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D34076A-ECD6-43D2-B728-44346AB837C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A08870A-F9CD-4231-B1E9-E0AA1559AFB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7273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58DD397-363F-4CDD-90B7-07538C7ADC0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56926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1A4C7DC-9C9C-4FF8-874C-7CD3A9531F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09898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D876EDA-77D6-4239-A272-75E57ACB734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20591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73A35FA-14A4-4602-A6DE-371FE0E2A16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362123" y="3558214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7A4A096-A1F8-4B95-AB0A-E8D49E9EE2D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362124" y="5691813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E08A122B-7B8C-408A-BF61-14C2E9903E2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48413074-0481-4B1B-87D7-A1C60A1B4DE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7273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062BCBC7-8CED-42BA-913B-27FDAA8E98D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956926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B240316-4F03-4364-AB3A-B1647FD0F8A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09898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5F1A4D7-B6F1-40A6-B28D-29C13D542791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20591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A08398CB-0D27-4564-85C4-F80B60787DA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5A564B04-399B-49EB-B1AC-C24A27A65D5A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7273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BCEF57A-2AFD-4177-88B2-6790A549F4E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956926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1E15864A-B682-410D-92B7-37384580B81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098982" y="4901804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9896286" y="5193648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E26A225F-D350-48F5-B6D9-2CF3F2F0724E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4"/>
          <a:stretch>
            <a:fillRect/>
          </a:stretch>
        </p:blipFill>
        <p:spPr>
          <a:xfrm>
            <a:off x="939030" y="974286"/>
            <a:ext cx="2286198" cy="1670449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95C488DF-3C62-4D26-AB24-E6F7F2B56148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/>
          <a:stretch>
            <a:fillRect/>
          </a:stretch>
        </p:blipFill>
        <p:spPr>
          <a:xfrm>
            <a:off x="3195886" y="974285"/>
            <a:ext cx="2286198" cy="1670449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5D153E94-AC33-48E5-8E48-3D8F69FD54B6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/>
          <a:stretch>
            <a:fillRect/>
          </a:stretch>
        </p:blipFill>
        <p:spPr>
          <a:xfrm>
            <a:off x="5400215" y="990253"/>
            <a:ext cx="2188654" cy="1664352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64A7E1F5-A4B8-4134-B582-1076BC8EFDF3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/>
          <a:stretch>
            <a:fillRect/>
          </a:stretch>
        </p:blipFill>
        <p:spPr>
          <a:xfrm>
            <a:off x="7590221" y="979176"/>
            <a:ext cx="2286198" cy="1664352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DB45FF15-8745-4DB6-8F01-27E8E4DD6FAD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/>
          <a:stretch>
            <a:fillRect/>
          </a:stretch>
        </p:blipFill>
        <p:spPr>
          <a:xfrm>
            <a:off x="9819264" y="974284"/>
            <a:ext cx="2188654" cy="1670449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F4CCB24D-CF3A-4F2D-9690-66514BF54728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/>
          <a:stretch>
            <a:fillRect/>
          </a:stretch>
        </p:blipFill>
        <p:spPr>
          <a:xfrm>
            <a:off x="788197" y="3022795"/>
            <a:ext cx="2286198" cy="1670449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A29F8126-839D-479D-8FD6-6502A249924F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/>
          <a:stretch>
            <a:fillRect/>
          </a:stretch>
        </p:blipFill>
        <p:spPr>
          <a:xfrm>
            <a:off x="3158159" y="3105389"/>
            <a:ext cx="2188654" cy="1664352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B27EF586-B8D3-42C3-B4FD-6D6A41008D0E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/>
          <a:stretch>
            <a:fillRect/>
          </a:stretch>
        </p:blipFill>
        <p:spPr>
          <a:xfrm>
            <a:off x="5373274" y="3113719"/>
            <a:ext cx="2286198" cy="1664352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D8B83650-08D1-436D-AA20-1B7ACFA21EDA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/>
          <a:stretch>
            <a:fillRect/>
          </a:stretch>
        </p:blipFill>
        <p:spPr>
          <a:xfrm>
            <a:off x="7546846" y="3090096"/>
            <a:ext cx="2188654" cy="1670449"/>
          </a:xfrm>
          <a:prstGeom prst="rect">
            <a:avLst/>
          </a:prstGeom>
        </p:spPr>
      </p:pic>
      <p:pic>
        <p:nvPicPr>
          <p:cNvPr id="21" name="Obrázek 20">
            <a:extLst>
              <a:ext uri="{FF2B5EF4-FFF2-40B4-BE49-F238E27FC236}">
                <a16:creationId xmlns:a16="http://schemas.microsoft.com/office/drawing/2014/main" id="{4275DD29-D824-43DF-83DE-D5B7A66DA784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/>
          <a:stretch>
            <a:fillRect/>
          </a:stretch>
        </p:blipFill>
        <p:spPr>
          <a:xfrm>
            <a:off x="9649335" y="3102955"/>
            <a:ext cx="2286198" cy="1670449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EE26E56F-FEBE-4F5A-8F67-F0C5B11B8C4A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/>
          <a:stretch>
            <a:fillRect/>
          </a:stretch>
        </p:blipFill>
        <p:spPr>
          <a:xfrm>
            <a:off x="1007232" y="5153899"/>
            <a:ext cx="2188654" cy="1664352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F806B356-240C-43F9-8A7C-B168DE7E7F8C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/>
          <a:stretch>
            <a:fillRect/>
          </a:stretch>
        </p:blipFill>
        <p:spPr>
          <a:xfrm>
            <a:off x="3241762" y="5196696"/>
            <a:ext cx="2286198" cy="1664352"/>
          </a:xfrm>
          <a:prstGeom prst="rect">
            <a:avLst/>
          </a:prstGeom>
        </p:spPr>
      </p:pic>
      <p:pic>
        <p:nvPicPr>
          <p:cNvPr id="24" name="Obrázek 23">
            <a:extLst>
              <a:ext uri="{FF2B5EF4-FFF2-40B4-BE49-F238E27FC236}">
                <a16:creationId xmlns:a16="http://schemas.microsoft.com/office/drawing/2014/main" id="{06BE248C-B5C3-46F2-871D-1CDDEE013DE9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/>
          <a:stretch>
            <a:fillRect/>
          </a:stretch>
        </p:blipFill>
        <p:spPr>
          <a:xfrm>
            <a:off x="5546022" y="5183230"/>
            <a:ext cx="2188654" cy="1670449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549CB6A2-A8F9-4A69-80ED-CD0778C7465D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/>
          <a:stretch>
            <a:fillRect/>
          </a:stretch>
        </p:blipFill>
        <p:spPr>
          <a:xfrm>
            <a:off x="7752738" y="5193170"/>
            <a:ext cx="2286198" cy="167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525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515" y="26817"/>
            <a:ext cx="11543560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ZAMĚSTNAN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7B7BF9C-A8C5-4F77-B27E-5BD853320F3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71295" y="1329361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27B17EE-36F1-4666-86D3-051B7FB7117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F3577065-92DE-4AD3-AAE1-0A135D1BBF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1558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231C5CE-498E-49AF-A82A-C9886886AD5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871201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A2DD5F9-45FE-41FB-A021-BD86799DBF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994207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75450C0-57EE-4978-ABDE-87834EE795E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082087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BC49786-37BE-4610-AA3C-ACC6F822C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571297" y="3529638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0EA6A183-6D1C-4DDE-9F9B-5B86BDA78FE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571298" y="56632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7971F6D-FEF1-419E-B425-FF15CA46767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A2DBE2BB-85D3-4704-A4A5-E3220D1C3C2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1558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9C0EE4D-F316-4BAD-B03E-D62778D4997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871201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0F1744-A848-4586-844E-1081D3232AF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994207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AE3CB9CF-00ED-45DF-A0B6-0BE17F7F601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082087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09BAF25-CB6F-48CA-91CF-8809AB1F8DB4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3178B9A-BBF7-4D5C-9D13-F19FDF5D8D31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1558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8923BFE-A086-436F-A617-0727AB0D8A5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871201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64ADC04-3CCA-42FF-A4D4-86B50BCD5A19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6994207" y="4901804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34" name="TextovéPole 33"/>
          <p:cNvSpPr txBox="1"/>
          <p:nvPr>
            <p:custDataLst>
              <p:tags r:id="rId19"/>
            </p:custDataLst>
          </p:nvPr>
        </p:nvSpPr>
        <p:spPr>
          <a:xfrm>
            <a:off x="9896286" y="5193648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D031AE1A-E0C6-488E-ABB1-C9850CC880EF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/>
          <a:stretch>
            <a:fillRect/>
          </a:stretch>
        </p:blipFill>
        <p:spPr>
          <a:xfrm>
            <a:off x="1086545" y="922895"/>
            <a:ext cx="2066723" cy="1670449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A753A29A-7498-4FA9-B1AE-8B9C9D5C3121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/>
          <a:stretch>
            <a:fillRect/>
          </a:stretch>
        </p:blipFill>
        <p:spPr>
          <a:xfrm>
            <a:off x="3199186" y="922894"/>
            <a:ext cx="2475191" cy="1670449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CA1ADE70-5AD1-4162-BB81-DAC6BD62FFA2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/>
          <a:stretch>
            <a:fillRect/>
          </a:stretch>
        </p:blipFill>
        <p:spPr>
          <a:xfrm>
            <a:off x="5523272" y="966130"/>
            <a:ext cx="2066723" cy="1664352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2F60363F-D55D-481C-A74A-CF448F37DAD3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/>
          <a:stretch>
            <a:fillRect/>
          </a:stretch>
        </p:blipFill>
        <p:spPr>
          <a:xfrm>
            <a:off x="7484808" y="936616"/>
            <a:ext cx="2475191" cy="1664352"/>
          </a:xfrm>
          <a:prstGeom prst="rect">
            <a:avLst/>
          </a:prstGeom>
        </p:spPr>
      </p:pic>
      <p:pic>
        <p:nvPicPr>
          <p:cNvPr id="35" name="Obrázek 34">
            <a:extLst>
              <a:ext uri="{FF2B5EF4-FFF2-40B4-BE49-F238E27FC236}">
                <a16:creationId xmlns:a16="http://schemas.microsoft.com/office/drawing/2014/main" id="{74703D17-E8F5-4490-B7B1-94F0C9B02E8E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/>
          <a:stretch>
            <a:fillRect/>
          </a:stretch>
        </p:blipFill>
        <p:spPr>
          <a:xfrm>
            <a:off x="9896286" y="933567"/>
            <a:ext cx="2066723" cy="1670449"/>
          </a:xfrm>
          <a:prstGeom prst="rect">
            <a:avLst/>
          </a:prstGeom>
        </p:spPr>
      </p:pic>
      <p:pic>
        <p:nvPicPr>
          <p:cNvPr id="36" name="Obrázek 35">
            <a:extLst>
              <a:ext uri="{FF2B5EF4-FFF2-40B4-BE49-F238E27FC236}">
                <a16:creationId xmlns:a16="http://schemas.microsoft.com/office/drawing/2014/main" id="{9476A6FA-DFFC-4AA8-84BE-1B8C1E8CECE4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/>
          <a:stretch>
            <a:fillRect/>
          </a:stretch>
        </p:blipFill>
        <p:spPr>
          <a:xfrm>
            <a:off x="1101655" y="3131007"/>
            <a:ext cx="2475191" cy="1670449"/>
          </a:xfrm>
          <a:prstGeom prst="rect">
            <a:avLst/>
          </a:prstGeom>
        </p:spPr>
      </p:pic>
      <p:pic>
        <p:nvPicPr>
          <p:cNvPr id="37" name="Obrázek 36">
            <a:extLst>
              <a:ext uri="{FF2B5EF4-FFF2-40B4-BE49-F238E27FC236}">
                <a16:creationId xmlns:a16="http://schemas.microsoft.com/office/drawing/2014/main" id="{6E8D61A5-8B36-419B-B552-6318F4DCDF1B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/>
          <a:stretch>
            <a:fillRect/>
          </a:stretch>
        </p:blipFill>
        <p:spPr>
          <a:xfrm>
            <a:off x="3350069" y="3105928"/>
            <a:ext cx="2066723" cy="1664352"/>
          </a:xfrm>
          <a:prstGeom prst="rect">
            <a:avLst/>
          </a:prstGeom>
        </p:spPr>
      </p:pic>
      <p:pic>
        <p:nvPicPr>
          <p:cNvPr id="42" name="Obrázek 41">
            <a:extLst>
              <a:ext uri="{FF2B5EF4-FFF2-40B4-BE49-F238E27FC236}">
                <a16:creationId xmlns:a16="http://schemas.microsoft.com/office/drawing/2014/main" id="{80CB4667-2B22-4050-9A2B-C8732450EF49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/>
          <a:stretch>
            <a:fillRect/>
          </a:stretch>
        </p:blipFill>
        <p:spPr>
          <a:xfrm>
            <a:off x="5188449" y="3105928"/>
            <a:ext cx="2475191" cy="1664352"/>
          </a:xfrm>
          <a:prstGeom prst="rect">
            <a:avLst/>
          </a:prstGeom>
        </p:spPr>
      </p:pic>
      <p:pic>
        <p:nvPicPr>
          <p:cNvPr id="43" name="Obrázek 42">
            <a:extLst>
              <a:ext uri="{FF2B5EF4-FFF2-40B4-BE49-F238E27FC236}">
                <a16:creationId xmlns:a16="http://schemas.microsoft.com/office/drawing/2014/main" id="{E1A087E6-08E9-4A18-B63B-6EC99CCFBAB4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/>
          <a:stretch>
            <a:fillRect/>
          </a:stretch>
        </p:blipFill>
        <p:spPr>
          <a:xfrm>
            <a:off x="7583196" y="3131006"/>
            <a:ext cx="2066723" cy="1670449"/>
          </a:xfrm>
          <a:prstGeom prst="rect">
            <a:avLst/>
          </a:prstGeom>
        </p:spPr>
      </p:pic>
      <p:pic>
        <p:nvPicPr>
          <p:cNvPr id="44" name="Obrázek 43">
            <a:extLst>
              <a:ext uri="{FF2B5EF4-FFF2-40B4-BE49-F238E27FC236}">
                <a16:creationId xmlns:a16="http://schemas.microsoft.com/office/drawing/2014/main" id="{046BE12E-391A-4527-93C1-C4BDC8D265F4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/>
          <a:stretch>
            <a:fillRect/>
          </a:stretch>
        </p:blipFill>
        <p:spPr>
          <a:xfrm>
            <a:off x="9730834" y="3131006"/>
            <a:ext cx="2475191" cy="1670449"/>
          </a:xfrm>
          <a:prstGeom prst="rect">
            <a:avLst/>
          </a:prstGeom>
        </p:spPr>
      </p:pic>
      <p:pic>
        <p:nvPicPr>
          <p:cNvPr id="45" name="Obrázek 44">
            <a:extLst>
              <a:ext uri="{FF2B5EF4-FFF2-40B4-BE49-F238E27FC236}">
                <a16:creationId xmlns:a16="http://schemas.microsoft.com/office/drawing/2014/main" id="{A0C5F3C5-2C49-44B1-949F-EC92ADD6DA59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/>
          <a:stretch>
            <a:fillRect/>
          </a:stretch>
        </p:blipFill>
        <p:spPr>
          <a:xfrm>
            <a:off x="1105374" y="5182754"/>
            <a:ext cx="2066723" cy="1664352"/>
          </a:xfrm>
          <a:prstGeom prst="rect">
            <a:avLst/>
          </a:prstGeom>
        </p:spPr>
      </p:pic>
      <p:pic>
        <p:nvPicPr>
          <p:cNvPr id="46" name="Obrázek 45">
            <a:extLst>
              <a:ext uri="{FF2B5EF4-FFF2-40B4-BE49-F238E27FC236}">
                <a16:creationId xmlns:a16="http://schemas.microsoft.com/office/drawing/2014/main" id="{6168ADB5-8B7D-4152-AC17-09A3C2BA4AE7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/>
          <a:stretch>
            <a:fillRect/>
          </a:stretch>
        </p:blipFill>
        <p:spPr>
          <a:xfrm>
            <a:off x="3089003" y="5182754"/>
            <a:ext cx="2475191" cy="1664352"/>
          </a:xfrm>
          <a:prstGeom prst="rect">
            <a:avLst/>
          </a:prstGeom>
        </p:spPr>
      </p:pic>
      <p:pic>
        <p:nvPicPr>
          <p:cNvPr id="47" name="Obrázek 46">
            <a:extLst>
              <a:ext uri="{FF2B5EF4-FFF2-40B4-BE49-F238E27FC236}">
                <a16:creationId xmlns:a16="http://schemas.microsoft.com/office/drawing/2014/main" id="{5A671676-62BE-4D97-A23C-DA964CE8C079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/>
          <a:stretch>
            <a:fillRect/>
          </a:stretch>
        </p:blipFill>
        <p:spPr>
          <a:xfrm>
            <a:off x="5481100" y="5179705"/>
            <a:ext cx="2066723" cy="1670449"/>
          </a:xfrm>
          <a:prstGeom prst="rect">
            <a:avLst/>
          </a:prstGeom>
        </p:spPr>
      </p:pic>
      <p:pic>
        <p:nvPicPr>
          <p:cNvPr id="48" name="Obrázek 47">
            <a:extLst>
              <a:ext uri="{FF2B5EF4-FFF2-40B4-BE49-F238E27FC236}">
                <a16:creationId xmlns:a16="http://schemas.microsoft.com/office/drawing/2014/main" id="{7DD09383-8D82-4A8B-9A2F-2B16CF0976E7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48"/>
          <a:stretch>
            <a:fillRect/>
          </a:stretch>
        </p:blipFill>
        <p:spPr>
          <a:xfrm>
            <a:off x="7461223" y="5193648"/>
            <a:ext cx="2475191" cy="167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08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92a72d3433424d4497ed13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34</TotalTime>
  <Words>3001</Words>
  <Application>Microsoft Office PowerPoint</Application>
  <PresentationFormat>Širokoúhlá obrazovka</PresentationFormat>
  <Paragraphs>620</Paragraphs>
  <Slides>24</Slides>
  <Notes>12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24</vt:i4>
      </vt:variant>
    </vt:vector>
  </HeadingPairs>
  <TitlesOfParts>
    <vt:vector size="32" baseType="lpstr">
      <vt:lpstr>Arial</vt:lpstr>
      <vt:lpstr>Arial (Základní text)</vt:lpstr>
      <vt:lpstr>Calibri</vt:lpstr>
      <vt:lpstr>Calibri Light</vt:lpstr>
      <vt:lpstr>1_Motiv systému Office</vt:lpstr>
      <vt:lpstr>5_Motiv Office</vt:lpstr>
      <vt:lpstr>1_Motiv Office</vt:lpstr>
      <vt:lpstr>12_Motiv Office</vt:lpstr>
      <vt:lpstr>Datová a informační základna  pro management pandemie COVID-19</vt:lpstr>
      <vt:lpstr>Harmonogram otevírání školských zařízení v krajích ČR 2021</vt:lpstr>
      <vt:lpstr>Kumulativní počet testů provedených přímo ve školách </vt:lpstr>
      <vt:lpstr>Prezentace aplikace PowerPoint</vt:lpstr>
      <vt:lpstr>Testy ve školách – průběžné výsledky (dle CFA) 12.4–7.6.2021 </vt:lpstr>
      <vt:lpstr>Testy ve školách – průběžné výsledky (dle CFA) 12.4–7.6.2021 </vt:lpstr>
      <vt:lpstr>Testy ve školách – průběžné výsledky dle krajů (přepočet na 100tis. testů)</vt:lpstr>
      <vt:lpstr>Testy ve školách – průběžné výsledky dle krajů (přepočet na 100tis. testů): ŽÁCI</vt:lpstr>
      <vt:lpstr>Testy ve školách – průběžné výsledky dle krajů (přepočet na 100tis. testů): ZAMĚSTNANCI</vt:lpstr>
      <vt:lpstr>Testy ve školách – souhrnné hodnocení </vt:lpstr>
      <vt:lpstr>Datová a informační základna  pro management pandemie COVID-19</vt:lpstr>
      <vt:lpstr>Prezentace aplikace PowerPoint</vt:lpstr>
      <vt:lpstr>Testy hlášení ze škol – průběžné výsledky</vt:lpstr>
      <vt:lpstr>Populační záchyty nákazy u dětí různých věkových kategorií</vt:lpstr>
      <vt:lpstr>Výsledky testů u dětí 5-15 let mezi 12.4 – 7.6.2021</vt:lpstr>
      <vt:lpstr>Výsledky testů u dětí 5-11 let mezi 12.4 – 7.6.2021</vt:lpstr>
      <vt:lpstr>Výsledky testů u dětí 12-15 let mezi 12.4 – 7.6.2021</vt:lpstr>
      <vt:lpstr>Datová a informační základna  pro management pandemie COVID-19</vt:lpstr>
      <vt:lpstr>Počty COVID-19 pozitivních v ČR na 100 000 v populaci</vt:lpstr>
      <vt:lpstr>Počty testů na 100 tis. dětí v čase</vt:lpstr>
      <vt:lpstr>Počty nově COVID-19 pozitivních na 100 testů u dětí v čase</vt:lpstr>
      <vt:lpstr>Nové případy za 7 dní na 100 000 obyvatel: srovnání krajů k 8.6.: 0–4 let</vt:lpstr>
      <vt:lpstr>Nové případy za 7 dní na 100 000 obyvatel: srovnání krajů k 8.6.: 5–11 let</vt:lpstr>
      <vt:lpstr>Nové případy za 7 dní na 100 000 obyvatel: srovnání krajů k 8.6.: 12–19 l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3104</cp:revision>
  <dcterms:created xsi:type="dcterms:W3CDTF">2020-03-16T10:06:11Z</dcterms:created>
  <dcterms:modified xsi:type="dcterms:W3CDTF">2021-06-09T20:55:08Z</dcterms:modified>
</cp:coreProperties>
</file>